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4"/>
    <p:sldMasterId id="2147483674" r:id="rId5"/>
  </p:sldMasterIdLst>
  <p:notesMasterIdLst>
    <p:notesMasterId r:id="rId7"/>
  </p:notesMasterIdLst>
  <p:sldIdLst>
    <p:sldId id="1371" r:id="rId6"/>
  </p:sldIdLst>
  <p:sldSz cx="42808525" cy="30279975"/>
  <p:notesSz cx="6858000" cy="9144000"/>
  <p:embeddedFontLst>
    <p:embeddedFont>
      <p:font typeface="Aharoni" panose="02010803020104030203" pitchFamily="2" charset="-79"/>
      <p:bold r:id="rId8"/>
    </p:embeddedFont>
    <p:embeddedFont>
      <p:font typeface="Bebas Neue"/>
      <p:regular r:id="rId9"/>
    </p:embeddedFont>
    <p:embeddedFont>
      <p:font typeface="Calibri" panose="020F0502020204030204" pitchFamily="34" charset="0"/>
      <p:regular r:id="rId10"/>
      <p:bold r:id="rId11"/>
      <p:italic r:id="rId12"/>
      <p:boldItalic r:id="rId13"/>
    </p:embeddedFont>
    <p:embeddedFont>
      <p:font typeface="Calibri Light" panose="020F0302020204030204" pitchFamily="34" charset="0"/>
      <p:regular r:id="rId14"/>
      <p:italic r:id="rId15"/>
    </p:embeddedFont>
    <p:embeddedFont>
      <p:font typeface="Michelin SemiBold" panose="020F0502020204030204" pitchFamily="34" charset="0"/>
      <p:regular r:id="rId16"/>
      <p:bold r:id="rId17"/>
      <p:italic r:id="rId18"/>
      <p:boldItalic r:id="rId19"/>
    </p:embeddedFont>
  </p:embeddedFontLst>
  <p:defaultTextStyle>
    <a:defPPr>
      <a:defRPr lang="fr-FR"/>
    </a:defPPr>
    <a:lvl1pPr algn="l" defTabSz="4175125" rtl="0" eaLnBrk="0" fontAlgn="base" hangingPunct="0">
      <a:spcBef>
        <a:spcPct val="0"/>
      </a:spcBef>
      <a:spcAft>
        <a:spcPct val="0"/>
      </a:spcAft>
      <a:defRPr sz="82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1pPr>
    <a:lvl2pPr marL="2087563" indent="-1630363" algn="l" defTabSz="4175125" rtl="0" eaLnBrk="0" fontAlgn="base" hangingPunct="0">
      <a:spcBef>
        <a:spcPct val="0"/>
      </a:spcBef>
      <a:spcAft>
        <a:spcPct val="0"/>
      </a:spcAft>
      <a:defRPr sz="82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2pPr>
    <a:lvl3pPr marL="4175125" indent="-3260725" algn="l" defTabSz="4175125" rtl="0" eaLnBrk="0" fontAlgn="base" hangingPunct="0">
      <a:spcBef>
        <a:spcPct val="0"/>
      </a:spcBef>
      <a:spcAft>
        <a:spcPct val="0"/>
      </a:spcAft>
      <a:defRPr sz="82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3pPr>
    <a:lvl4pPr marL="6264275" indent="-4892675" algn="l" defTabSz="4175125" rtl="0" eaLnBrk="0" fontAlgn="base" hangingPunct="0">
      <a:spcBef>
        <a:spcPct val="0"/>
      </a:spcBef>
      <a:spcAft>
        <a:spcPct val="0"/>
      </a:spcAft>
      <a:defRPr sz="82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4pPr>
    <a:lvl5pPr marL="8351838" indent="-6523038" algn="l" defTabSz="4175125" rtl="0" eaLnBrk="0" fontAlgn="base" hangingPunct="0">
      <a:spcBef>
        <a:spcPct val="0"/>
      </a:spcBef>
      <a:spcAft>
        <a:spcPct val="0"/>
      </a:spcAft>
      <a:defRPr sz="82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5pPr>
    <a:lvl6pPr marL="2286000" algn="l" defTabSz="914400" rtl="0" eaLnBrk="1" latinLnBrk="0" hangingPunct="1">
      <a:defRPr sz="82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6pPr>
    <a:lvl7pPr marL="2743200" algn="l" defTabSz="914400" rtl="0" eaLnBrk="1" latinLnBrk="0" hangingPunct="1">
      <a:defRPr sz="82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7pPr>
    <a:lvl8pPr marL="3200400" algn="l" defTabSz="914400" rtl="0" eaLnBrk="1" latinLnBrk="0" hangingPunct="1">
      <a:defRPr sz="82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8pPr>
    <a:lvl9pPr marL="3657600" algn="l" defTabSz="914400" rtl="0" eaLnBrk="1" latinLnBrk="0" hangingPunct="1">
      <a:defRPr sz="82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537">
          <p15:clr>
            <a:srgbClr val="A4A3A4"/>
          </p15:clr>
        </p15:guide>
        <p15:guide id="2" pos="13483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CC00"/>
    <a:srgbClr val="204B7F"/>
    <a:srgbClr val="00A19A"/>
    <a:srgbClr val="059643"/>
    <a:srgbClr val="FFFFFF"/>
    <a:srgbClr val="2C3E50"/>
    <a:srgbClr val="27509B"/>
    <a:srgbClr val="00CC9B"/>
    <a:srgbClr val="72C0C1"/>
    <a:srgbClr val="00B06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458" autoAdjust="0"/>
    <p:restoredTop sz="95706" autoAdjust="0"/>
  </p:normalViewPr>
  <p:slideViewPr>
    <p:cSldViewPr>
      <p:cViewPr>
        <p:scale>
          <a:sx n="11" d="100"/>
          <a:sy n="11" d="100"/>
        </p:scale>
        <p:origin x="4392" y="1792"/>
      </p:cViewPr>
      <p:guideLst>
        <p:guide orient="horz" pos="9537"/>
        <p:guide pos="13483"/>
      </p:guideLst>
    </p:cSldViewPr>
  </p:slideViewPr>
  <p:notesTextViewPr>
    <p:cViewPr>
      <p:scale>
        <a:sx n="20" d="100"/>
        <a:sy n="2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1.fntdata"/><Relationship Id="rId13" Type="http://schemas.openxmlformats.org/officeDocument/2006/relationships/font" Target="fonts/font6.fntdata"/><Relationship Id="rId18" Type="http://schemas.openxmlformats.org/officeDocument/2006/relationships/font" Target="fonts/font11.fntdata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notesMaster" Target="notesMasters/notesMaster1.xml"/><Relationship Id="rId12" Type="http://schemas.openxmlformats.org/officeDocument/2006/relationships/font" Target="fonts/font5.fntdata"/><Relationship Id="rId17" Type="http://schemas.openxmlformats.org/officeDocument/2006/relationships/font" Target="fonts/font10.fntdata"/><Relationship Id="rId2" Type="http://schemas.openxmlformats.org/officeDocument/2006/relationships/customXml" Target="../customXml/item2.xml"/><Relationship Id="rId16" Type="http://schemas.openxmlformats.org/officeDocument/2006/relationships/font" Target="fonts/font9.fntdata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font" Target="fonts/font4.fntdata"/><Relationship Id="rId24" Type="http://schemas.microsoft.com/office/2016/11/relationships/changesInfo" Target="changesInfos/changesInfo1.xml"/><Relationship Id="rId5" Type="http://schemas.openxmlformats.org/officeDocument/2006/relationships/slideMaster" Target="slideMasters/slideMaster2.xml"/><Relationship Id="rId15" Type="http://schemas.openxmlformats.org/officeDocument/2006/relationships/font" Target="fonts/font8.fntdata"/><Relationship Id="rId23" Type="http://schemas.openxmlformats.org/officeDocument/2006/relationships/tableStyles" Target="tableStyles.xml"/><Relationship Id="rId10" Type="http://schemas.openxmlformats.org/officeDocument/2006/relationships/font" Target="fonts/font3.fntdata"/><Relationship Id="rId19" Type="http://schemas.openxmlformats.org/officeDocument/2006/relationships/font" Target="fonts/font12.fntdata"/><Relationship Id="rId4" Type="http://schemas.openxmlformats.org/officeDocument/2006/relationships/slideMaster" Target="slideMasters/slideMaster1.xml"/><Relationship Id="rId9" Type="http://schemas.openxmlformats.org/officeDocument/2006/relationships/font" Target="fonts/font2.fntdata"/><Relationship Id="rId14" Type="http://schemas.openxmlformats.org/officeDocument/2006/relationships/font" Target="fonts/font7.fntdata"/><Relationship Id="rId22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nicolas chevalier" userId="677dbc9f-a297-4ad6-b248-57777f1689e8" providerId="ADAL" clId="{C893C980-01FD-4386-9BA5-FE0B401E4D22}"/>
    <pc:docChg chg="modSld">
      <pc:chgData name="nicolas chevalier" userId="677dbc9f-a297-4ad6-b248-57777f1689e8" providerId="ADAL" clId="{C893C980-01FD-4386-9BA5-FE0B401E4D22}" dt="2020-10-20T17:20:07.094" v="2" actId="20577"/>
      <pc:docMkLst>
        <pc:docMk/>
      </pc:docMkLst>
      <pc:sldChg chg="modSp mod">
        <pc:chgData name="nicolas chevalier" userId="677dbc9f-a297-4ad6-b248-57777f1689e8" providerId="ADAL" clId="{C893C980-01FD-4386-9BA5-FE0B401E4D22}" dt="2020-10-20T17:20:07.094" v="2" actId="20577"/>
        <pc:sldMkLst>
          <pc:docMk/>
          <pc:sldMk cId="0" sldId="1371"/>
        </pc:sldMkLst>
        <pc:spChg chg="mod">
          <ac:chgData name="nicolas chevalier" userId="677dbc9f-a297-4ad6-b248-57777f1689e8" providerId="ADAL" clId="{C893C980-01FD-4386-9BA5-FE0B401E4D22}" dt="2020-10-20T17:20:07.094" v="2" actId="20577"/>
          <ac:spMkLst>
            <pc:docMk/>
            <pc:sldMk cId="0" sldId="1371"/>
            <ac:spMk id="7" creationId="{ECEA2E86-AE5C-4C27-AC8E-20027B7FA8C7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>
            <a:extLst>
              <a:ext uri="{FF2B5EF4-FFF2-40B4-BE49-F238E27FC236}">
                <a16:creationId xmlns:a16="http://schemas.microsoft.com/office/drawing/2014/main" id="{9DF77F26-7F0B-40C6-A144-6A61B5C8CF9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defTabSz="4176431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F6557624-2430-4BF2-89FD-06298F05FF68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defTabSz="4176431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1831027C-32F8-4A5A-B821-3F0510263E61}" type="datetimeFigureOut">
              <a:rPr lang="fr-FR"/>
              <a:pPr>
                <a:defRPr/>
              </a:pPr>
              <a:t>06/05/2021</a:t>
            </a:fld>
            <a:endParaRPr lang="fr-FR"/>
          </a:p>
        </p:txBody>
      </p:sp>
      <p:sp>
        <p:nvSpPr>
          <p:cNvPr id="4" name="Espace réservé de l'image des diapositives 3">
            <a:extLst>
              <a:ext uri="{FF2B5EF4-FFF2-40B4-BE49-F238E27FC236}">
                <a16:creationId xmlns:a16="http://schemas.microsoft.com/office/drawing/2014/main" id="{D1E40B12-AF94-4B6B-A29C-AEFE72E31860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006475" y="685800"/>
            <a:ext cx="484505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fr-FR" noProof="0"/>
          </a:p>
        </p:txBody>
      </p:sp>
      <p:sp>
        <p:nvSpPr>
          <p:cNvPr id="5" name="Espace réservé des commentaires 4">
            <a:extLst>
              <a:ext uri="{FF2B5EF4-FFF2-40B4-BE49-F238E27FC236}">
                <a16:creationId xmlns:a16="http://schemas.microsoft.com/office/drawing/2014/main" id="{C040D0CD-3B3C-4475-BB49-8277E129F2B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6E301C32-3465-46CB-9026-4676D573B73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defTabSz="4176431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DD1CC87D-6252-43D1-8509-A2210527DB6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defTabSz="4176431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A7CCEEB8-ECB4-41E6-A735-6D75225D4A5B}" type="slidenum">
              <a:rPr lang="fr-FR"/>
              <a:pPr>
                <a:defRPr/>
              </a:pPr>
              <a:t>‹#›</a:t>
            </a:fld>
            <a:endParaRPr lang="fr-F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defTabSz="4175125" rtl="0" fontAlgn="base">
      <a:spcBef>
        <a:spcPct val="30000"/>
      </a:spcBef>
      <a:spcAft>
        <a:spcPct val="0"/>
      </a:spcAft>
      <a:defRPr sz="5500" kern="1200">
        <a:solidFill>
          <a:schemeClr val="tx1"/>
        </a:solidFill>
        <a:latin typeface="+mn-lt"/>
        <a:ea typeface="+mn-ea"/>
        <a:cs typeface="+mn-cs"/>
      </a:defRPr>
    </a:lvl1pPr>
    <a:lvl2pPr marL="2087563" algn="l" defTabSz="4175125" rtl="0" fontAlgn="base">
      <a:spcBef>
        <a:spcPct val="30000"/>
      </a:spcBef>
      <a:spcAft>
        <a:spcPct val="0"/>
      </a:spcAft>
      <a:defRPr sz="5500" kern="1200">
        <a:solidFill>
          <a:schemeClr val="tx1"/>
        </a:solidFill>
        <a:latin typeface="+mn-lt"/>
        <a:ea typeface="+mn-ea"/>
        <a:cs typeface="+mn-cs"/>
      </a:defRPr>
    </a:lvl2pPr>
    <a:lvl3pPr marL="4175125" algn="l" defTabSz="4175125" rtl="0" fontAlgn="base">
      <a:spcBef>
        <a:spcPct val="30000"/>
      </a:spcBef>
      <a:spcAft>
        <a:spcPct val="0"/>
      </a:spcAft>
      <a:defRPr sz="5500" kern="1200">
        <a:solidFill>
          <a:schemeClr val="tx1"/>
        </a:solidFill>
        <a:latin typeface="+mn-lt"/>
        <a:ea typeface="+mn-ea"/>
        <a:cs typeface="+mn-cs"/>
      </a:defRPr>
    </a:lvl3pPr>
    <a:lvl4pPr marL="6264275" algn="l" defTabSz="4175125" rtl="0" fontAlgn="base">
      <a:spcBef>
        <a:spcPct val="30000"/>
      </a:spcBef>
      <a:spcAft>
        <a:spcPct val="0"/>
      </a:spcAft>
      <a:defRPr sz="5500" kern="1200">
        <a:solidFill>
          <a:schemeClr val="tx1"/>
        </a:solidFill>
        <a:latin typeface="+mn-lt"/>
        <a:ea typeface="+mn-ea"/>
        <a:cs typeface="+mn-cs"/>
      </a:defRPr>
    </a:lvl4pPr>
    <a:lvl5pPr marL="8351838" algn="l" defTabSz="4175125" rtl="0" fontAlgn="base">
      <a:spcBef>
        <a:spcPct val="30000"/>
      </a:spcBef>
      <a:spcAft>
        <a:spcPct val="0"/>
      </a:spcAft>
      <a:defRPr sz="5500" kern="1200">
        <a:solidFill>
          <a:schemeClr val="tx1"/>
        </a:solidFill>
        <a:latin typeface="+mn-lt"/>
        <a:ea typeface="+mn-ea"/>
        <a:cs typeface="+mn-cs"/>
      </a:defRPr>
    </a:lvl5pPr>
    <a:lvl6pPr marL="10441076" algn="l" defTabSz="4176431" rtl="0" eaLnBrk="1" latinLnBrk="0" hangingPunct="1">
      <a:defRPr sz="5500" kern="1200">
        <a:solidFill>
          <a:schemeClr val="tx1"/>
        </a:solidFill>
        <a:latin typeface="+mn-lt"/>
        <a:ea typeface="+mn-ea"/>
        <a:cs typeface="+mn-cs"/>
      </a:defRPr>
    </a:lvl6pPr>
    <a:lvl7pPr marL="12529292" algn="l" defTabSz="4176431" rtl="0" eaLnBrk="1" latinLnBrk="0" hangingPunct="1">
      <a:defRPr sz="5500" kern="1200">
        <a:solidFill>
          <a:schemeClr val="tx1"/>
        </a:solidFill>
        <a:latin typeface="+mn-lt"/>
        <a:ea typeface="+mn-ea"/>
        <a:cs typeface="+mn-cs"/>
      </a:defRPr>
    </a:lvl7pPr>
    <a:lvl8pPr marL="14617507" algn="l" defTabSz="4176431" rtl="0" eaLnBrk="1" latinLnBrk="0" hangingPunct="1">
      <a:defRPr sz="5500" kern="1200">
        <a:solidFill>
          <a:schemeClr val="tx1"/>
        </a:solidFill>
        <a:latin typeface="+mn-lt"/>
        <a:ea typeface="+mn-ea"/>
        <a:cs typeface="+mn-cs"/>
      </a:defRPr>
    </a:lvl8pPr>
    <a:lvl9pPr marL="16705722" algn="l" defTabSz="4176431" rtl="0" eaLnBrk="1" latinLnBrk="0" hangingPunct="1">
      <a:defRPr sz="55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2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3210640" y="9406420"/>
            <a:ext cx="36387246" cy="6490569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6421279" y="17158652"/>
            <a:ext cx="29965968" cy="7738216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20882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41764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62646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83528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04410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25292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146175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16705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1028E811-9D59-45AB-A87A-BF6F50F454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77EDA7A-4D20-4B99-9F13-2BE3E5F29A0A}" type="datetimeFigureOut">
              <a:rPr lang="fr-FR"/>
              <a:pPr>
                <a:defRPr/>
              </a:pPr>
              <a:t>06/05/2021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E06721D-F085-42FF-8809-A57B4B791B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9455D172-43FB-4B1D-8A11-00C8CCD270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B762F7-3D5E-4847-99A5-B7599A0CE46F}" type="slidenum">
              <a:rPr lang="fr-FR"/>
              <a:pPr>
                <a:defRPr/>
              </a:pPr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0472418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AB5E921A-41F6-47DC-940E-14CF3B6F33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C945EB2-5ED8-4E8B-B4E0-AA65A1413154}" type="datetimeFigureOut">
              <a:rPr lang="fr-FR"/>
              <a:pPr>
                <a:defRPr/>
              </a:pPr>
              <a:t>06/05/2021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B9FA0E3B-85CE-4CF9-82D2-33C2DE2748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9B45919E-4D70-44A0-BB36-1E60F27D3D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D14C8F3-58BB-4DD4-8F38-7B9936DF4DCB}" type="slidenum">
              <a:rPr lang="fr-FR"/>
              <a:pPr>
                <a:defRPr/>
              </a:pPr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2438682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145303730" y="5355072"/>
            <a:ext cx="45090158" cy="114075602"/>
          </a:xfrm>
        </p:spPr>
        <p:txBody>
          <a:bodyPr vert="eaVert"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10018386" y="5355072"/>
            <a:ext cx="134571871" cy="114075602"/>
          </a:xfrm>
        </p:spPr>
        <p:txBody>
          <a:bodyPr vert="eaVert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E35D0A3E-42DC-4945-80AE-581EE9D3CE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0943C4-01E3-4692-A0BB-72DE37C02FAD}" type="datetimeFigureOut">
              <a:rPr lang="fr-FR"/>
              <a:pPr>
                <a:defRPr/>
              </a:pPr>
              <a:t>06/05/2021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81396EFA-9937-4F35-B46C-2A00C6D386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54D6FA6D-E6F9-49B4-9CBA-242C01AD29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253D575-2D83-4AD3-9402-83B52BEA2A88}" type="slidenum">
              <a:rPr lang="fr-FR"/>
              <a:pPr>
                <a:defRPr/>
              </a:pPr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7994018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6" hidden="1">
            <a:extLst>
              <a:ext uri="{FF2B5EF4-FFF2-40B4-BE49-F238E27FC236}">
                <a16:creationId xmlns:a16="http://schemas.microsoft.com/office/drawing/2014/main" id="{A0F355B4-8698-4A5D-9B83-F7581FA485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7938" y="9525"/>
          <a:ext cx="6350" cy="9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Diapositive think-cell" r:id="rId5" imgW="360" imgH="360" progId="TCLayout.ActiveDocument.1">
                  <p:embed/>
                </p:oleObj>
              </mc:Choice>
              <mc:Fallback>
                <p:oleObj name="Diapositive think-cell" r:id="rId5" imgW="360" imgH="360" progId="TCLayout.ActiveDocument.1">
                  <p:embed/>
                  <p:pic>
                    <p:nvPicPr>
                      <p:cNvPr id="3" name="Objet 6" hidden="1">
                        <a:extLst>
                          <a:ext uri="{FF2B5EF4-FFF2-40B4-BE49-F238E27FC236}">
                            <a16:creationId xmlns:a16="http://schemas.microsoft.com/office/drawing/2014/main" id="{A0F355B4-8698-4A5D-9B83-F7581FA4856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938" y="9525"/>
                        <a:ext cx="6350" cy="95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6268659-0259-4482-85EE-520B90A24A8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742950" cy="93503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176431" eaLnBrk="1" fontAlgn="auto" hangingPunct="1">
              <a:defRPr/>
            </a:pPr>
            <a:endParaRPr lang="fr-FR" sz="8427">
              <a:latin typeface="Michelin SemiBold" panose="02000000000000000000" pitchFamily="50" charset="0"/>
              <a:ea typeface="+mj-ea"/>
              <a:cs typeface="+mj-cs"/>
              <a:sym typeface="Michelin SemiBold" panose="02000000000000000000" pitchFamily="50" charset="0"/>
            </a:endParaRPr>
          </a:p>
        </p:txBody>
      </p:sp>
      <p:pic>
        <p:nvPicPr>
          <p:cNvPr id="5" name="Picture 4" descr="C:\Users\F299251\Documents\INFORMATION TECHNOLOGY\STRATEGY\2018\EVERGREEN\stars-04.png">
            <a:extLst>
              <a:ext uri="{FF2B5EF4-FFF2-40B4-BE49-F238E27FC236}">
                <a16:creationId xmlns:a16="http://schemas.microsoft.com/office/drawing/2014/main" id="{8D5C4C0D-DB07-4239-8C5A-DD0E5AA1797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935038" y="17495838"/>
            <a:ext cx="5345113" cy="2619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Titre 1">
            <a:extLst>
              <a:ext uri="{FF2B5EF4-FFF2-40B4-BE49-F238E27FC236}">
                <a16:creationId xmlns:a16="http://schemas.microsoft.com/office/drawing/2014/main" id="{FE9426FE-A8D3-4679-ACAF-C12399C0BD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48640" y="1281231"/>
            <a:ext cx="36745257" cy="1614826"/>
          </a:xfrm>
          <a:prstGeom prst="rect">
            <a:avLst/>
          </a:prstGeom>
        </p:spPr>
        <p:txBody>
          <a:bodyPr/>
          <a:lstStyle>
            <a:lvl1pPr algn="l">
              <a:defRPr sz="8427" b="0" i="0">
                <a:solidFill>
                  <a:srgbClr val="395EA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49234940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 flipV="1">
            <a:off x="7" y="25622740"/>
            <a:ext cx="42808514" cy="4657235"/>
          </a:xfrm>
          <a:prstGeom prst="rect">
            <a:avLst/>
          </a:prstGeom>
          <a:solidFill>
            <a:srgbClr val="EAEAEA"/>
          </a:solidFill>
          <a:ln w="15875" cap="flat">
            <a:noFill/>
            <a:prstDash val="solid"/>
            <a:miter lim="800000"/>
            <a:headEnd/>
            <a:tailEnd/>
          </a:ln>
        </p:spPr>
        <p:txBody>
          <a:bodyPr vert="horz" wrap="square" lIns="321074" tIns="160535" rIns="321074" bIns="160535" numCol="1" anchor="t" anchorCtr="0" compatLnSpc="1">
            <a:prstTxWarp prst="textNoShape">
              <a:avLst/>
            </a:prstTxWarp>
          </a:bodyPr>
          <a:lstStyle/>
          <a:p>
            <a:pPr lvl="0"/>
            <a:endParaRPr lang="de-DE" sz="28796" dirty="0"/>
          </a:p>
        </p:txBody>
      </p:sp>
      <p:sp>
        <p:nvSpPr>
          <p:cNvPr id="9" name="Rechteck 8"/>
          <p:cNvSpPr/>
          <p:nvPr userDrawn="1"/>
        </p:nvSpPr>
        <p:spPr bwMode="auto">
          <a:xfrm>
            <a:off x="7" y="0"/>
            <a:ext cx="42808514" cy="2562274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15875" cap="flat">
            <a:noFill/>
            <a:prstDash val="solid"/>
            <a:miter lim="800000"/>
            <a:headEnd/>
            <a:tailEnd/>
          </a:ln>
        </p:spPr>
        <p:txBody>
          <a:bodyPr vert="horz" wrap="square" lIns="321074" tIns="160535" rIns="321074" bIns="160535" numCol="1" anchor="t" anchorCtr="0" compatLnSpc="1">
            <a:prstTxWarp prst="textNoShape">
              <a:avLst/>
            </a:prstTxWarp>
          </a:bodyPr>
          <a:lstStyle/>
          <a:p>
            <a:pPr lvl="0"/>
            <a:endParaRPr lang="de-DE" sz="28796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3" name="Titel 1"/>
          <p:cNvSpPr>
            <a:spLocks noGrp="1"/>
          </p:cNvSpPr>
          <p:nvPr>
            <p:ph type="title"/>
          </p:nvPr>
        </p:nvSpPr>
        <p:spPr>
          <a:xfrm>
            <a:off x="3667488" y="2"/>
            <a:ext cx="35473559" cy="16519501"/>
          </a:xfrm>
        </p:spPr>
        <p:txBody>
          <a:bodyPr anchor="b" anchorCtr="0">
            <a:noAutofit/>
          </a:bodyPr>
          <a:lstStyle>
            <a:lvl1pPr algn="ctr">
              <a:lnSpc>
                <a:spcPct val="80000"/>
              </a:lnSpc>
              <a:defRPr sz="30903" b="0" cap="all">
                <a:solidFill>
                  <a:schemeClr val="bg1"/>
                </a:solidFill>
                <a:latin typeface="Bebas Neue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idx="1"/>
          </p:nvPr>
        </p:nvSpPr>
        <p:spPr>
          <a:xfrm>
            <a:off x="3667488" y="16519503"/>
            <a:ext cx="35473559" cy="9103239"/>
          </a:xfrm>
        </p:spPr>
        <p:txBody>
          <a:bodyPr anchor="t" anchorCtr="0"/>
          <a:lstStyle>
            <a:lvl1pPr marL="0" indent="0" algn="ctr">
              <a:lnSpc>
                <a:spcPct val="80000"/>
              </a:lnSpc>
              <a:buNone/>
              <a:defRPr sz="15451">
                <a:solidFill>
                  <a:srgbClr val="B2B2B2"/>
                </a:solidFill>
              </a:defRPr>
            </a:lvl1pPr>
            <a:lvl2pPr marL="1605549" indent="0">
              <a:buNone/>
              <a:defRPr sz="6321">
                <a:solidFill>
                  <a:schemeClr val="tx1">
                    <a:tint val="75000"/>
                  </a:schemeClr>
                </a:solidFill>
              </a:defRPr>
            </a:lvl2pPr>
            <a:lvl3pPr marL="3211098" indent="0">
              <a:buNone/>
              <a:defRPr sz="5619">
                <a:solidFill>
                  <a:schemeClr val="tx1">
                    <a:tint val="75000"/>
                  </a:schemeClr>
                </a:solidFill>
              </a:defRPr>
            </a:lvl3pPr>
            <a:lvl4pPr marL="4816648" indent="0">
              <a:buNone/>
              <a:defRPr sz="4916">
                <a:solidFill>
                  <a:schemeClr val="tx1">
                    <a:tint val="75000"/>
                  </a:schemeClr>
                </a:solidFill>
              </a:defRPr>
            </a:lvl4pPr>
            <a:lvl5pPr marL="6422197" indent="0">
              <a:buNone/>
              <a:defRPr sz="4916">
                <a:solidFill>
                  <a:schemeClr val="tx1">
                    <a:tint val="75000"/>
                  </a:schemeClr>
                </a:solidFill>
              </a:defRPr>
            </a:lvl5pPr>
            <a:lvl6pPr marL="8027746" indent="0">
              <a:buNone/>
              <a:defRPr sz="4916">
                <a:solidFill>
                  <a:schemeClr val="tx1">
                    <a:tint val="75000"/>
                  </a:schemeClr>
                </a:solidFill>
              </a:defRPr>
            </a:lvl6pPr>
            <a:lvl7pPr marL="9633295" indent="0">
              <a:buNone/>
              <a:defRPr sz="4916">
                <a:solidFill>
                  <a:schemeClr val="tx1">
                    <a:tint val="75000"/>
                  </a:schemeClr>
                </a:solidFill>
              </a:defRPr>
            </a:lvl7pPr>
            <a:lvl8pPr marL="11238845" indent="0">
              <a:buNone/>
              <a:defRPr sz="4916">
                <a:solidFill>
                  <a:schemeClr val="tx1">
                    <a:tint val="75000"/>
                  </a:schemeClr>
                </a:solidFill>
              </a:defRPr>
            </a:lvl8pPr>
            <a:lvl9pPr marL="12844394" indent="0">
              <a:buNone/>
              <a:defRPr sz="4916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5319989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B2465169-C8A2-4279-A96D-19888A6B5A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0726860-10A1-45E9-8651-EBB9C65EFF6A}" type="datetimeFigureOut">
              <a:rPr lang="fr-FR"/>
              <a:pPr>
                <a:defRPr/>
              </a:pPr>
              <a:t>06/05/2021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32320B51-6042-4D11-8DF0-7FD1E79E51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A762D6BB-A3A9-4228-BDC3-2157E3BFD9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C09FDED-03C2-42EE-8926-EBCB69B7D549}" type="slidenum">
              <a:rPr lang="fr-FR"/>
              <a:pPr>
                <a:defRPr/>
              </a:pPr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460925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381579" y="19457690"/>
            <a:ext cx="36387246" cy="6013939"/>
          </a:xfrm>
        </p:spPr>
        <p:txBody>
          <a:bodyPr anchor="t"/>
          <a:lstStyle>
            <a:lvl1pPr algn="l">
              <a:defRPr sz="18300" b="1" cap="all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3381579" y="12833948"/>
            <a:ext cx="36387246" cy="6623742"/>
          </a:xfrm>
        </p:spPr>
        <p:txBody>
          <a:bodyPr anchor="b"/>
          <a:lstStyle>
            <a:lvl1pPr marL="0" indent="0">
              <a:buNone/>
              <a:defRPr sz="9100">
                <a:solidFill>
                  <a:schemeClr val="tx1">
                    <a:tint val="75000"/>
                  </a:schemeClr>
                </a:solidFill>
              </a:defRPr>
            </a:lvl1pPr>
            <a:lvl2pPr marL="2088215" indent="0">
              <a:buNone/>
              <a:defRPr sz="8200">
                <a:solidFill>
                  <a:schemeClr val="tx1">
                    <a:tint val="75000"/>
                  </a:schemeClr>
                </a:solidFill>
              </a:defRPr>
            </a:lvl2pPr>
            <a:lvl3pPr marL="4176431" indent="0">
              <a:buNone/>
              <a:defRPr sz="7300">
                <a:solidFill>
                  <a:schemeClr val="tx1">
                    <a:tint val="75000"/>
                  </a:schemeClr>
                </a:solidFill>
              </a:defRPr>
            </a:lvl3pPr>
            <a:lvl4pPr marL="6264646" indent="0">
              <a:buNone/>
              <a:defRPr sz="6400">
                <a:solidFill>
                  <a:schemeClr val="tx1">
                    <a:tint val="75000"/>
                  </a:schemeClr>
                </a:solidFill>
              </a:defRPr>
            </a:lvl4pPr>
            <a:lvl5pPr marL="8352861" indent="0">
              <a:buNone/>
              <a:defRPr sz="6400">
                <a:solidFill>
                  <a:schemeClr val="tx1">
                    <a:tint val="75000"/>
                  </a:schemeClr>
                </a:solidFill>
              </a:defRPr>
            </a:lvl5pPr>
            <a:lvl6pPr marL="10441076" indent="0">
              <a:buNone/>
              <a:defRPr sz="6400">
                <a:solidFill>
                  <a:schemeClr val="tx1">
                    <a:tint val="75000"/>
                  </a:schemeClr>
                </a:solidFill>
              </a:defRPr>
            </a:lvl6pPr>
            <a:lvl7pPr marL="12529292" indent="0">
              <a:buNone/>
              <a:defRPr sz="6400">
                <a:solidFill>
                  <a:schemeClr val="tx1">
                    <a:tint val="75000"/>
                  </a:schemeClr>
                </a:solidFill>
              </a:defRPr>
            </a:lvl7pPr>
            <a:lvl8pPr marL="14617507" indent="0">
              <a:buNone/>
              <a:defRPr sz="6400">
                <a:solidFill>
                  <a:schemeClr val="tx1">
                    <a:tint val="75000"/>
                  </a:schemeClr>
                </a:solidFill>
              </a:defRPr>
            </a:lvl8pPr>
            <a:lvl9pPr marL="16705722" indent="0">
              <a:buNone/>
              <a:defRPr sz="6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3AD99DF4-15E6-4CAA-8386-C51FDBC136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5A9913D-6F21-4EC9-9C10-C2775CDEA40D}" type="datetimeFigureOut">
              <a:rPr lang="fr-FR"/>
              <a:pPr>
                <a:defRPr/>
              </a:pPr>
              <a:t>06/05/2021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4B25759B-5DFB-4D35-966F-D90071674B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B35915EC-8FC3-4110-8BBD-DC649E441C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29546A1-024F-42FA-8FC0-BB4D1FB72E61}" type="slidenum">
              <a:rPr lang="fr-FR"/>
              <a:pPr>
                <a:defRPr/>
              </a:pPr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0999037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10018386" y="31198189"/>
            <a:ext cx="89831017" cy="88232483"/>
          </a:xfrm>
        </p:spPr>
        <p:txBody>
          <a:bodyPr/>
          <a:lstStyle>
            <a:lvl1pPr>
              <a:defRPr sz="12800"/>
            </a:lvl1pPr>
            <a:lvl2pPr>
              <a:defRPr sz="11000"/>
            </a:lvl2pPr>
            <a:lvl3pPr>
              <a:defRPr sz="9100"/>
            </a:lvl3pPr>
            <a:lvl4pPr>
              <a:defRPr sz="8200"/>
            </a:lvl4pPr>
            <a:lvl5pPr>
              <a:defRPr sz="8200"/>
            </a:lvl5pPr>
            <a:lvl6pPr>
              <a:defRPr sz="8200"/>
            </a:lvl6pPr>
            <a:lvl7pPr>
              <a:defRPr sz="8200"/>
            </a:lvl7pPr>
            <a:lvl8pPr>
              <a:defRPr sz="8200"/>
            </a:lvl8pPr>
            <a:lvl9pPr>
              <a:defRPr sz="82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100562876" y="31198189"/>
            <a:ext cx="89831012" cy="88232483"/>
          </a:xfrm>
        </p:spPr>
        <p:txBody>
          <a:bodyPr/>
          <a:lstStyle>
            <a:lvl1pPr>
              <a:defRPr sz="12800"/>
            </a:lvl1pPr>
            <a:lvl2pPr>
              <a:defRPr sz="11000"/>
            </a:lvl2pPr>
            <a:lvl3pPr>
              <a:defRPr sz="9100"/>
            </a:lvl3pPr>
            <a:lvl4pPr>
              <a:defRPr sz="8200"/>
            </a:lvl4pPr>
            <a:lvl5pPr>
              <a:defRPr sz="8200"/>
            </a:lvl5pPr>
            <a:lvl6pPr>
              <a:defRPr sz="8200"/>
            </a:lvl6pPr>
            <a:lvl7pPr>
              <a:defRPr sz="8200"/>
            </a:lvl7pPr>
            <a:lvl8pPr>
              <a:defRPr sz="8200"/>
            </a:lvl8pPr>
            <a:lvl9pPr>
              <a:defRPr sz="82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e la date 3">
            <a:extLst>
              <a:ext uri="{FF2B5EF4-FFF2-40B4-BE49-F238E27FC236}">
                <a16:creationId xmlns:a16="http://schemas.microsoft.com/office/drawing/2014/main" id="{4124E779-731F-437F-96F4-3377C764DF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D71A7A8-E9C0-44B9-9323-73F84C86C058}" type="datetimeFigureOut">
              <a:rPr lang="fr-FR"/>
              <a:pPr>
                <a:defRPr/>
              </a:pPr>
              <a:t>06/05/2021</a:t>
            </a:fld>
            <a:endParaRPr lang="fr-FR"/>
          </a:p>
        </p:txBody>
      </p:sp>
      <p:sp>
        <p:nvSpPr>
          <p:cNvPr id="6" name="Espace réservé du pied de page 4">
            <a:extLst>
              <a:ext uri="{FF2B5EF4-FFF2-40B4-BE49-F238E27FC236}">
                <a16:creationId xmlns:a16="http://schemas.microsoft.com/office/drawing/2014/main" id="{CD76FF86-90E8-48A7-88EB-8269E9DB7A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" name="Espace réservé du numéro de diapositive 5">
            <a:extLst>
              <a:ext uri="{FF2B5EF4-FFF2-40B4-BE49-F238E27FC236}">
                <a16:creationId xmlns:a16="http://schemas.microsoft.com/office/drawing/2014/main" id="{36AE69B5-3D99-43EA-A539-13D80E89ED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46C931E-6C8D-4ADE-A90C-5AC41957814A}" type="slidenum">
              <a:rPr lang="fr-FR"/>
              <a:pPr>
                <a:defRPr/>
              </a:pPr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0507188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140426" y="1212603"/>
            <a:ext cx="38527673" cy="5046663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2140426" y="6777950"/>
            <a:ext cx="18914533" cy="2824727"/>
          </a:xfrm>
        </p:spPr>
        <p:txBody>
          <a:bodyPr anchor="b"/>
          <a:lstStyle>
            <a:lvl1pPr marL="0" indent="0">
              <a:buNone/>
              <a:defRPr sz="11000" b="1"/>
            </a:lvl1pPr>
            <a:lvl2pPr marL="2088215" indent="0">
              <a:buNone/>
              <a:defRPr sz="9100" b="1"/>
            </a:lvl2pPr>
            <a:lvl3pPr marL="4176431" indent="0">
              <a:buNone/>
              <a:defRPr sz="8200" b="1"/>
            </a:lvl3pPr>
            <a:lvl4pPr marL="6264646" indent="0">
              <a:buNone/>
              <a:defRPr sz="7300" b="1"/>
            </a:lvl4pPr>
            <a:lvl5pPr marL="8352861" indent="0">
              <a:buNone/>
              <a:defRPr sz="7300" b="1"/>
            </a:lvl5pPr>
            <a:lvl6pPr marL="10441076" indent="0">
              <a:buNone/>
              <a:defRPr sz="7300" b="1"/>
            </a:lvl6pPr>
            <a:lvl7pPr marL="12529292" indent="0">
              <a:buNone/>
              <a:defRPr sz="7300" b="1"/>
            </a:lvl7pPr>
            <a:lvl8pPr marL="14617507" indent="0">
              <a:buNone/>
              <a:defRPr sz="7300" b="1"/>
            </a:lvl8pPr>
            <a:lvl9pPr marL="16705722" indent="0">
              <a:buNone/>
              <a:defRPr sz="7300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2140426" y="9602677"/>
            <a:ext cx="18914533" cy="17446034"/>
          </a:xfrm>
        </p:spPr>
        <p:txBody>
          <a:bodyPr/>
          <a:lstStyle>
            <a:lvl1pPr>
              <a:defRPr sz="11000"/>
            </a:lvl1pPr>
            <a:lvl2pPr>
              <a:defRPr sz="9100"/>
            </a:lvl2pPr>
            <a:lvl3pPr>
              <a:defRPr sz="8200"/>
            </a:lvl3pPr>
            <a:lvl4pPr>
              <a:defRPr sz="7300"/>
            </a:lvl4pPr>
            <a:lvl5pPr>
              <a:defRPr sz="7300"/>
            </a:lvl5pPr>
            <a:lvl6pPr>
              <a:defRPr sz="7300"/>
            </a:lvl6pPr>
            <a:lvl7pPr>
              <a:defRPr sz="7300"/>
            </a:lvl7pPr>
            <a:lvl8pPr>
              <a:defRPr sz="7300"/>
            </a:lvl8pPr>
            <a:lvl9pPr>
              <a:defRPr sz="73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21746138" y="6777950"/>
            <a:ext cx="18921963" cy="2824727"/>
          </a:xfrm>
        </p:spPr>
        <p:txBody>
          <a:bodyPr anchor="b"/>
          <a:lstStyle>
            <a:lvl1pPr marL="0" indent="0">
              <a:buNone/>
              <a:defRPr sz="11000" b="1"/>
            </a:lvl1pPr>
            <a:lvl2pPr marL="2088215" indent="0">
              <a:buNone/>
              <a:defRPr sz="9100" b="1"/>
            </a:lvl2pPr>
            <a:lvl3pPr marL="4176431" indent="0">
              <a:buNone/>
              <a:defRPr sz="8200" b="1"/>
            </a:lvl3pPr>
            <a:lvl4pPr marL="6264646" indent="0">
              <a:buNone/>
              <a:defRPr sz="7300" b="1"/>
            </a:lvl4pPr>
            <a:lvl5pPr marL="8352861" indent="0">
              <a:buNone/>
              <a:defRPr sz="7300" b="1"/>
            </a:lvl5pPr>
            <a:lvl6pPr marL="10441076" indent="0">
              <a:buNone/>
              <a:defRPr sz="7300" b="1"/>
            </a:lvl6pPr>
            <a:lvl7pPr marL="12529292" indent="0">
              <a:buNone/>
              <a:defRPr sz="7300" b="1"/>
            </a:lvl7pPr>
            <a:lvl8pPr marL="14617507" indent="0">
              <a:buNone/>
              <a:defRPr sz="7300" b="1"/>
            </a:lvl8pPr>
            <a:lvl9pPr marL="16705722" indent="0">
              <a:buNone/>
              <a:defRPr sz="7300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21746138" y="9602677"/>
            <a:ext cx="18921963" cy="17446034"/>
          </a:xfrm>
        </p:spPr>
        <p:txBody>
          <a:bodyPr/>
          <a:lstStyle>
            <a:lvl1pPr>
              <a:defRPr sz="11000"/>
            </a:lvl1pPr>
            <a:lvl2pPr>
              <a:defRPr sz="9100"/>
            </a:lvl2pPr>
            <a:lvl3pPr>
              <a:defRPr sz="8200"/>
            </a:lvl3pPr>
            <a:lvl4pPr>
              <a:defRPr sz="7300"/>
            </a:lvl4pPr>
            <a:lvl5pPr>
              <a:defRPr sz="7300"/>
            </a:lvl5pPr>
            <a:lvl6pPr>
              <a:defRPr sz="7300"/>
            </a:lvl6pPr>
            <a:lvl7pPr>
              <a:defRPr sz="7300"/>
            </a:lvl7pPr>
            <a:lvl8pPr>
              <a:defRPr sz="7300"/>
            </a:lvl8pPr>
            <a:lvl9pPr>
              <a:defRPr sz="73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e la date 3">
            <a:extLst>
              <a:ext uri="{FF2B5EF4-FFF2-40B4-BE49-F238E27FC236}">
                <a16:creationId xmlns:a16="http://schemas.microsoft.com/office/drawing/2014/main" id="{756E74F9-8A89-414F-8596-E6046E3073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4B36EB6-FFB8-426B-B304-53D03AD6F382}" type="datetimeFigureOut">
              <a:rPr lang="fr-FR"/>
              <a:pPr>
                <a:defRPr/>
              </a:pPr>
              <a:t>06/05/2021</a:t>
            </a:fld>
            <a:endParaRPr lang="fr-FR"/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id="{5D93F304-5C73-4253-AED9-DA695F2544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9" name="Espace réservé du numéro de diapositive 5">
            <a:extLst>
              <a:ext uri="{FF2B5EF4-FFF2-40B4-BE49-F238E27FC236}">
                <a16:creationId xmlns:a16="http://schemas.microsoft.com/office/drawing/2014/main" id="{AAAEC706-827E-460C-AE92-45C7019385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3A9B844-0826-42EB-849E-19268F88AD5B}" type="slidenum">
              <a:rPr lang="fr-FR"/>
              <a:pPr>
                <a:defRPr/>
              </a:pPr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7771007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e la date 3">
            <a:extLst>
              <a:ext uri="{FF2B5EF4-FFF2-40B4-BE49-F238E27FC236}">
                <a16:creationId xmlns:a16="http://schemas.microsoft.com/office/drawing/2014/main" id="{6A4FE43D-002C-4702-B02E-CC92FAA107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3567103-C2B5-4B76-8CA4-D0A1D6405179}" type="datetimeFigureOut">
              <a:rPr lang="fr-FR"/>
              <a:pPr>
                <a:defRPr/>
              </a:pPr>
              <a:t>06/05/2021</a:t>
            </a:fld>
            <a:endParaRPr lang="fr-FR"/>
          </a:p>
        </p:txBody>
      </p:sp>
      <p:sp>
        <p:nvSpPr>
          <p:cNvPr id="4" name="Espace réservé du pied de page 4">
            <a:extLst>
              <a:ext uri="{FF2B5EF4-FFF2-40B4-BE49-F238E27FC236}">
                <a16:creationId xmlns:a16="http://schemas.microsoft.com/office/drawing/2014/main" id="{B4EEDA93-962E-4ED9-8E6C-CE3E14AA7F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" name="Espace réservé du numéro de diapositive 5">
            <a:extLst>
              <a:ext uri="{FF2B5EF4-FFF2-40B4-BE49-F238E27FC236}">
                <a16:creationId xmlns:a16="http://schemas.microsoft.com/office/drawing/2014/main" id="{58E25B11-D6CF-4665-8650-8ED61B95EE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A272A42-77A5-420C-8BA8-2299F3E58346}" type="slidenum">
              <a:rPr lang="fr-FR"/>
              <a:pPr>
                <a:defRPr/>
              </a:pPr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0892530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3">
            <a:extLst>
              <a:ext uri="{FF2B5EF4-FFF2-40B4-BE49-F238E27FC236}">
                <a16:creationId xmlns:a16="http://schemas.microsoft.com/office/drawing/2014/main" id="{4D105E16-D5E1-4D64-AD26-C534546FB4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45C347C-3775-4079-AA1B-58FA31717E2C}" type="datetimeFigureOut">
              <a:rPr lang="fr-FR"/>
              <a:pPr>
                <a:defRPr/>
              </a:pPr>
              <a:t>06/05/2021</a:t>
            </a:fld>
            <a:endParaRPr lang="fr-FR"/>
          </a:p>
        </p:txBody>
      </p:sp>
      <p:sp>
        <p:nvSpPr>
          <p:cNvPr id="3" name="Espace réservé du pied de page 4">
            <a:extLst>
              <a:ext uri="{FF2B5EF4-FFF2-40B4-BE49-F238E27FC236}">
                <a16:creationId xmlns:a16="http://schemas.microsoft.com/office/drawing/2014/main" id="{3339C858-0B98-4BF3-A6B8-50A17A41EC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4" name="Espace réservé du numéro de diapositive 5">
            <a:extLst>
              <a:ext uri="{FF2B5EF4-FFF2-40B4-BE49-F238E27FC236}">
                <a16:creationId xmlns:a16="http://schemas.microsoft.com/office/drawing/2014/main" id="{537F054D-EF34-49E3-BB68-1F0007ECE7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E96B4C0-53F4-4027-BC6F-53D040BDEC77}" type="slidenum">
              <a:rPr lang="fr-FR"/>
              <a:pPr>
                <a:defRPr/>
              </a:pPr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5160094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140428" y="1205591"/>
            <a:ext cx="14083710" cy="5130774"/>
          </a:xfrm>
        </p:spPr>
        <p:txBody>
          <a:bodyPr anchor="b"/>
          <a:lstStyle>
            <a:lvl1pPr algn="l">
              <a:defRPr sz="9100" b="1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16736944" y="1205594"/>
            <a:ext cx="23931155" cy="25843120"/>
          </a:xfrm>
        </p:spPr>
        <p:txBody>
          <a:bodyPr/>
          <a:lstStyle>
            <a:lvl1pPr>
              <a:defRPr sz="14600"/>
            </a:lvl1pPr>
            <a:lvl2pPr>
              <a:defRPr sz="12800"/>
            </a:lvl2pPr>
            <a:lvl3pPr>
              <a:defRPr sz="11000"/>
            </a:lvl3pPr>
            <a:lvl4pPr>
              <a:defRPr sz="9100"/>
            </a:lvl4pPr>
            <a:lvl5pPr>
              <a:defRPr sz="9100"/>
            </a:lvl5pPr>
            <a:lvl6pPr>
              <a:defRPr sz="9100"/>
            </a:lvl6pPr>
            <a:lvl7pPr>
              <a:defRPr sz="9100"/>
            </a:lvl7pPr>
            <a:lvl8pPr>
              <a:defRPr sz="9100"/>
            </a:lvl8pPr>
            <a:lvl9pPr>
              <a:defRPr sz="91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2140428" y="6336367"/>
            <a:ext cx="14083710" cy="20712346"/>
          </a:xfrm>
        </p:spPr>
        <p:txBody>
          <a:bodyPr/>
          <a:lstStyle>
            <a:lvl1pPr marL="0" indent="0">
              <a:buNone/>
              <a:defRPr sz="6400"/>
            </a:lvl1pPr>
            <a:lvl2pPr marL="2088215" indent="0">
              <a:buNone/>
              <a:defRPr sz="5500"/>
            </a:lvl2pPr>
            <a:lvl3pPr marL="4176431" indent="0">
              <a:buNone/>
              <a:defRPr sz="4600"/>
            </a:lvl3pPr>
            <a:lvl4pPr marL="6264646" indent="0">
              <a:buNone/>
              <a:defRPr sz="4100"/>
            </a:lvl4pPr>
            <a:lvl5pPr marL="8352861" indent="0">
              <a:buNone/>
              <a:defRPr sz="4100"/>
            </a:lvl5pPr>
            <a:lvl6pPr marL="10441076" indent="0">
              <a:buNone/>
              <a:defRPr sz="4100"/>
            </a:lvl6pPr>
            <a:lvl7pPr marL="12529292" indent="0">
              <a:buNone/>
              <a:defRPr sz="4100"/>
            </a:lvl7pPr>
            <a:lvl8pPr marL="14617507" indent="0">
              <a:buNone/>
              <a:defRPr sz="4100"/>
            </a:lvl8pPr>
            <a:lvl9pPr marL="16705722" indent="0">
              <a:buNone/>
              <a:defRPr sz="4100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" name="Espace réservé de la date 3">
            <a:extLst>
              <a:ext uri="{FF2B5EF4-FFF2-40B4-BE49-F238E27FC236}">
                <a16:creationId xmlns:a16="http://schemas.microsoft.com/office/drawing/2014/main" id="{7776A73A-B148-4B0B-90D2-64C7FE010A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A35EC74-E43E-418A-A6C1-688B40B55F0D}" type="datetimeFigureOut">
              <a:rPr lang="fr-FR"/>
              <a:pPr>
                <a:defRPr/>
              </a:pPr>
              <a:t>06/05/2021</a:t>
            </a:fld>
            <a:endParaRPr lang="fr-FR"/>
          </a:p>
        </p:txBody>
      </p:sp>
      <p:sp>
        <p:nvSpPr>
          <p:cNvPr id="6" name="Espace réservé du pied de page 4">
            <a:extLst>
              <a:ext uri="{FF2B5EF4-FFF2-40B4-BE49-F238E27FC236}">
                <a16:creationId xmlns:a16="http://schemas.microsoft.com/office/drawing/2014/main" id="{658712B5-E963-4DCA-929B-DDEEDE4DF0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" name="Espace réservé du numéro de diapositive 5">
            <a:extLst>
              <a:ext uri="{FF2B5EF4-FFF2-40B4-BE49-F238E27FC236}">
                <a16:creationId xmlns:a16="http://schemas.microsoft.com/office/drawing/2014/main" id="{3BD4B231-E39C-4774-AB27-6A78651BB9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1CC3BC5-BAB4-4AF6-9983-880026A72457}" type="slidenum">
              <a:rPr lang="fr-FR"/>
              <a:pPr>
                <a:defRPr/>
              </a:pPr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374036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90771" y="21195982"/>
            <a:ext cx="25685115" cy="2502306"/>
          </a:xfrm>
        </p:spPr>
        <p:txBody>
          <a:bodyPr anchor="b"/>
          <a:lstStyle>
            <a:lvl1pPr algn="l">
              <a:defRPr sz="9100" b="1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8390771" y="2705572"/>
            <a:ext cx="25685115" cy="18167985"/>
          </a:xfrm>
        </p:spPr>
        <p:txBody>
          <a:bodyPr rtlCol="0">
            <a:normAutofit/>
          </a:bodyPr>
          <a:lstStyle>
            <a:lvl1pPr marL="0" indent="0">
              <a:buNone/>
              <a:defRPr sz="14600"/>
            </a:lvl1pPr>
            <a:lvl2pPr marL="2088215" indent="0">
              <a:buNone/>
              <a:defRPr sz="12800"/>
            </a:lvl2pPr>
            <a:lvl3pPr marL="4176431" indent="0">
              <a:buNone/>
              <a:defRPr sz="11000"/>
            </a:lvl3pPr>
            <a:lvl4pPr marL="6264646" indent="0">
              <a:buNone/>
              <a:defRPr sz="9100"/>
            </a:lvl4pPr>
            <a:lvl5pPr marL="8352861" indent="0">
              <a:buNone/>
              <a:defRPr sz="9100"/>
            </a:lvl5pPr>
            <a:lvl6pPr marL="10441076" indent="0">
              <a:buNone/>
              <a:defRPr sz="9100"/>
            </a:lvl6pPr>
            <a:lvl7pPr marL="12529292" indent="0">
              <a:buNone/>
              <a:defRPr sz="9100"/>
            </a:lvl7pPr>
            <a:lvl8pPr marL="14617507" indent="0">
              <a:buNone/>
              <a:defRPr sz="9100"/>
            </a:lvl8pPr>
            <a:lvl9pPr marL="16705722" indent="0">
              <a:buNone/>
              <a:defRPr sz="9100"/>
            </a:lvl9pPr>
          </a:lstStyle>
          <a:p>
            <a:pPr lvl="0"/>
            <a:endParaRPr lang="fr-FR" noProof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8390771" y="23698288"/>
            <a:ext cx="25685115" cy="3553689"/>
          </a:xfrm>
        </p:spPr>
        <p:txBody>
          <a:bodyPr/>
          <a:lstStyle>
            <a:lvl1pPr marL="0" indent="0">
              <a:buNone/>
              <a:defRPr sz="6400"/>
            </a:lvl1pPr>
            <a:lvl2pPr marL="2088215" indent="0">
              <a:buNone/>
              <a:defRPr sz="5500"/>
            </a:lvl2pPr>
            <a:lvl3pPr marL="4176431" indent="0">
              <a:buNone/>
              <a:defRPr sz="4600"/>
            </a:lvl3pPr>
            <a:lvl4pPr marL="6264646" indent="0">
              <a:buNone/>
              <a:defRPr sz="4100"/>
            </a:lvl4pPr>
            <a:lvl5pPr marL="8352861" indent="0">
              <a:buNone/>
              <a:defRPr sz="4100"/>
            </a:lvl5pPr>
            <a:lvl6pPr marL="10441076" indent="0">
              <a:buNone/>
              <a:defRPr sz="4100"/>
            </a:lvl6pPr>
            <a:lvl7pPr marL="12529292" indent="0">
              <a:buNone/>
              <a:defRPr sz="4100"/>
            </a:lvl7pPr>
            <a:lvl8pPr marL="14617507" indent="0">
              <a:buNone/>
              <a:defRPr sz="4100"/>
            </a:lvl8pPr>
            <a:lvl9pPr marL="16705722" indent="0">
              <a:buNone/>
              <a:defRPr sz="4100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" name="Espace réservé de la date 3">
            <a:extLst>
              <a:ext uri="{FF2B5EF4-FFF2-40B4-BE49-F238E27FC236}">
                <a16:creationId xmlns:a16="http://schemas.microsoft.com/office/drawing/2014/main" id="{3302C912-D83B-4252-810C-97A2005169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B5D0893-B88E-4B0C-9FA0-915B3A3B6DF7}" type="datetimeFigureOut">
              <a:rPr lang="fr-FR"/>
              <a:pPr>
                <a:defRPr/>
              </a:pPr>
              <a:t>06/05/2021</a:t>
            </a:fld>
            <a:endParaRPr lang="fr-FR"/>
          </a:p>
        </p:txBody>
      </p:sp>
      <p:sp>
        <p:nvSpPr>
          <p:cNvPr id="6" name="Espace réservé du pied de page 4">
            <a:extLst>
              <a:ext uri="{FF2B5EF4-FFF2-40B4-BE49-F238E27FC236}">
                <a16:creationId xmlns:a16="http://schemas.microsoft.com/office/drawing/2014/main" id="{4F3EC52B-EB8B-4EAA-807A-E65C8CF87E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" name="Espace réservé du numéro de diapositive 5">
            <a:extLst>
              <a:ext uri="{FF2B5EF4-FFF2-40B4-BE49-F238E27FC236}">
                <a16:creationId xmlns:a16="http://schemas.microsoft.com/office/drawing/2014/main" id="{59A0497E-805B-4306-924B-6CAC69DCD2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B7B7EF1-CA94-495B-888D-1C222699E771}" type="slidenum">
              <a:rPr lang="fr-FR"/>
              <a:pPr>
                <a:defRPr/>
              </a:pPr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45135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Espace réservé du titre 1">
            <a:extLst>
              <a:ext uri="{FF2B5EF4-FFF2-40B4-BE49-F238E27FC236}">
                <a16:creationId xmlns:a16="http://schemas.microsoft.com/office/drawing/2014/main" id="{A75CD3E3-2EC0-4707-89BE-5D9A72496E73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2139950" y="1212850"/>
            <a:ext cx="38528625" cy="5046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417643" tIns="208822" rIns="417643" bIns="20882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/>
              <a:t>Modifiez le style du titre</a:t>
            </a:r>
          </a:p>
        </p:txBody>
      </p:sp>
      <p:sp>
        <p:nvSpPr>
          <p:cNvPr id="1027" name="Espace réservé du texte 2">
            <a:extLst>
              <a:ext uri="{FF2B5EF4-FFF2-40B4-BE49-F238E27FC236}">
                <a16:creationId xmlns:a16="http://schemas.microsoft.com/office/drawing/2014/main" id="{6F939032-1561-442C-A88D-0D62C2BD281C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2139950" y="7065963"/>
            <a:ext cx="38528625" cy="19983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417643" tIns="208822" rIns="417643" bIns="20882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/>
              <a:t>Modifiez les styles du texte du masque</a:t>
            </a:r>
          </a:p>
          <a:p>
            <a:pPr lvl="1"/>
            <a:r>
              <a:rPr lang="fr-FR" altLang="fr-FR"/>
              <a:t>Deuxième niveau</a:t>
            </a:r>
          </a:p>
          <a:p>
            <a:pPr lvl="2"/>
            <a:r>
              <a:rPr lang="fr-FR" altLang="fr-FR"/>
              <a:t>Troisième niveau</a:t>
            </a:r>
          </a:p>
          <a:p>
            <a:pPr lvl="3"/>
            <a:r>
              <a:rPr lang="fr-FR" altLang="fr-FR"/>
              <a:t>Quatrième niveau</a:t>
            </a:r>
          </a:p>
          <a:p>
            <a:pPr lvl="4"/>
            <a:r>
              <a:rPr lang="fr-FR" alt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349E1A61-FA8F-4562-9716-BAEB1F3C48C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139950" y="28065413"/>
            <a:ext cx="9988550" cy="1611312"/>
          </a:xfrm>
          <a:prstGeom prst="rect">
            <a:avLst/>
          </a:prstGeom>
        </p:spPr>
        <p:txBody>
          <a:bodyPr vert="horz" lIns="417643" tIns="208822" rIns="417643" bIns="208822" rtlCol="0" anchor="ctr"/>
          <a:lstStyle>
            <a:lvl1pPr algn="l" defTabSz="4176431" eaLnBrk="1" fontAlgn="auto" hangingPunct="1">
              <a:spcBef>
                <a:spcPts val="0"/>
              </a:spcBef>
              <a:spcAft>
                <a:spcPts val="0"/>
              </a:spcAft>
              <a:defRPr sz="5500" smtClean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7D826B96-FE14-4BC5-BF4F-ABB597546904}" type="datetimeFigureOut">
              <a:rPr lang="fr-FR"/>
              <a:pPr>
                <a:defRPr/>
              </a:pPr>
              <a:t>06/05/2021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3EFC2CC-58C2-45B8-8D1E-29C788CD6A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4625638" y="28065413"/>
            <a:ext cx="13557250" cy="1611312"/>
          </a:xfrm>
          <a:prstGeom prst="rect">
            <a:avLst/>
          </a:prstGeom>
        </p:spPr>
        <p:txBody>
          <a:bodyPr vert="horz" lIns="417643" tIns="208822" rIns="417643" bIns="208822" rtlCol="0" anchor="ctr"/>
          <a:lstStyle>
            <a:lvl1pPr algn="ctr" defTabSz="4176431" eaLnBrk="1" fontAlgn="auto" hangingPunct="1">
              <a:spcBef>
                <a:spcPts val="0"/>
              </a:spcBef>
              <a:spcAft>
                <a:spcPts val="0"/>
              </a:spcAft>
              <a:defRPr sz="55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9C04F29C-13A6-43CC-AFE9-9F0ED02F9E6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0680025" y="28065413"/>
            <a:ext cx="9988550" cy="1611312"/>
          </a:xfrm>
          <a:prstGeom prst="rect">
            <a:avLst/>
          </a:prstGeom>
        </p:spPr>
        <p:txBody>
          <a:bodyPr vert="horz" lIns="417643" tIns="208822" rIns="417643" bIns="208822" rtlCol="0" anchor="ctr"/>
          <a:lstStyle>
            <a:lvl1pPr algn="r" defTabSz="4176431" eaLnBrk="1" fontAlgn="auto" hangingPunct="1">
              <a:spcBef>
                <a:spcPts val="0"/>
              </a:spcBef>
              <a:spcAft>
                <a:spcPts val="0"/>
              </a:spcAft>
              <a:defRPr sz="5500" smtClean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078B6907-129E-4DFC-844A-35F9246FB464}" type="slidenum">
              <a:rPr lang="fr-FR"/>
              <a:pPr>
                <a:defRPr/>
              </a:pPr>
              <a:t>‹#›</a:t>
            </a:fld>
            <a:endParaRPr lang="fr-F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</p:sldLayoutIdLst>
  <p:txStyles>
    <p:titleStyle>
      <a:lvl1pPr algn="ctr" defTabSz="4175125" rtl="0" fontAlgn="base">
        <a:spcBef>
          <a:spcPct val="0"/>
        </a:spcBef>
        <a:spcAft>
          <a:spcPct val="0"/>
        </a:spcAft>
        <a:defRPr sz="201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defTabSz="4175125" rtl="0" fontAlgn="base">
        <a:spcBef>
          <a:spcPct val="0"/>
        </a:spcBef>
        <a:spcAft>
          <a:spcPct val="0"/>
        </a:spcAft>
        <a:defRPr sz="20100">
          <a:solidFill>
            <a:schemeClr val="tx1"/>
          </a:solidFill>
          <a:latin typeface="Calibri" panose="020F0502020204030204" pitchFamily="34" charset="0"/>
        </a:defRPr>
      </a:lvl2pPr>
      <a:lvl3pPr algn="ctr" defTabSz="4175125" rtl="0" fontAlgn="base">
        <a:spcBef>
          <a:spcPct val="0"/>
        </a:spcBef>
        <a:spcAft>
          <a:spcPct val="0"/>
        </a:spcAft>
        <a:defRPr sz="20100">
          <a:solidFill>
            <a:schemeClr val="tx1"/>
          </a:solidFill>
          <a:latin typeface="Calibri" panose="020F0502020204030204" pitchFamily="34" charset="0"/>
        </a:defRPr>
      </a:lvl3pPr>
      <a:lvl4pPr algn="ctr" defTabSz="4175125" rtl="0" fontAlgn="base">
        <a:spcBef>
          <a:spcPct val="0"/>
        </a:spcBef>
        <a:spcAft>
          <a:spcPct val="0"/>
        </a:spcAft>
        <a:defRPr sz="20100">
          <a:solidFill>
            <a:schemeClr val="tx1"/>
          </a:solidFill>
          <a:latin typeface="Calibri" panose="020F0502020204030204" pitchFamily="34" charset="0"/>
        </a:defRPr>
      </a:lvl4pPr>
      <a:lvl5pPr algn="ctr" defTabSz="4175125" rtl="0" fontAlgn="base">
        <a:spcBef>
          <a:spcPct val="0"/>
        </a:spcBef>
        <a:spcAft>
          <a:spcPct val="0"/>
        </a:spcAft>
        <a:defRPr sz="20100">
          <a:solidFill>
            <a:schemeClr val="tx1"/>
          </a:solidFill>
          <a:latin typeface="Calibri" panose="020F0502020204030204" pitchFamily="34" charset="0"/>
        </a:defRPr>
      </a:lvl5pPr>
      <a:lvl6pPr marL="457200" algn="ctr" defTabSz="4175125" rtl="0" fontAlgn="base">
        <a:spcBef>
          <a:spcPct val="0"/>
        </a:spcBef>
        <a:spcAft>
          <a:spcPct val="0"/>
        </a:spcAft>
        <a:defRPr sz="20100">
          <a:solidFill>
            <a:schemeClr val="tx1"/>
          </a:solidFill>
          <a:latin typeface="Calibri" panose="020F0502020204030204" pitchFamily="34" charset="0"/>
        </a:defRPr>
      </a:lvl6pPr>
      <a:lvl7pPr marL="914400" algn="ctr" defTabSz="4175125" rtl="0" fontAlgn="base">
        <a:spcBef>
          <a:spcPct val="0"/>
        </a:spcBef>
        <a:spcAft>
          <a:spcPct val="0"/>
        </a:spcAft>
        <a:defRPr sz="20100">
          <a:solidFill>
            <a:schemeClr val="tx1"/>
          </a:solidFill>
          <a:latin typeface="Calibri" panose="020F0502020204030204" pitchFamily="34" charset="0"/>
        </a:defRPr>
      </a:lvl7pPr>
      <a:lvl8pPr marL="1371600" algn="ctr" defTabSz="4175125" rtl="0" fontAlgn="base">
        <a:spcBef>
          <a:spcPct val="0"/>
        </a:spcBef>
        <a:spcAft>
          <a:spcPct val="0"/>
        </a:spcAft>
        <a:defRPr sz="20100">
          <a:solidFill>
            <a:schemeClr val="tx1"/>
          </a:solidFill>
          <a:latin typeface="Calibri" panose="020F0502020204030204" pitchFamily="34" charset="0"/>
        </a:defRPr>
      </a:lvl8pPr>
      <a:lvl9pPr marL="1828800" algn="ctr" defTabSz="4175125" rtl="0" fontAlgn="base">
        <a:spcBef>
          <a:spcPct val="0"/>
        </a:spcBef>
        <a:spcAft>
          <a:spcPct val="0"/>
        </a:spcAft>
        <a:defRPr sz="20100">
          <a:solidFill>
            <a:schemeClr val="tx1"/>
          </a:solidFill>
          <a:latin typeface="Calibri" panose="020F0502020204030204" pitchFamily="34" charset="0"/>
        </a:defRPr>
      </a:lvl9pPr>
    </p:titleStyle>
    <p:bodyStyle>
      <a:lvl1pPr marL="1565275" indent="-1565275" algn="l" defTabSz="4175125" rtl="0" fontAlgn="base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4600" kern="1200">
          <a:solidFill>
            <a:schemeClr val="tx1"/>
          </a:solidFill>
          <a:latin typeface="+mn-lt"/>
          <a:ea typeface="+mn-ea"/>
          <a:cs typeface="+mn-cs"/>
        </a:defRPr>
      </a:lvl1pPr>
      <a:lvl2pPr marL="3392488" indent="-1304925" algn="l" defTabSz="4175125" rtl="0" fontAlgn="base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2800" kern="1200">
          <a:solidFill>
            <a:schemeClr val="tx1"/>
          </a:solidFill>
          <a:latin typeface="+mn-lt"/>
          <a:ea typeface="+mn-ea"/>
          <a:cs typeface="+mn-cs"/>
        </a:defRPr>
      </a:lvl2pPr>
      <a:lvl3pPr marL="5219700" indent="-1042988" algn="l" defTabSz="4175125" rtl="0" fontAlgn="base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1000" kern="1200">
          <a:solidFill>
            <a:schemeClr val="tx1"/>
          </a:solidFill>
          <a:latin typeface="+mn-lt"/>
          <a:ea typeface="+mn-ea"/>
          <a:cs typeface="+mn-cs"/>
        </a:defRPr>
      </a:lvl3pPr>
      <a:lvl4pPr marL="7307263" indent="-1042988" algn="l" defTabSz="4175125" rtl="0" fontAlgn="base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9100" kern="1200">
          <a:solidFill>
            <a:schemeClr val="tx1"/>
          </a:solidFill>
          <a:latin typeface="+mn-lt"/>
          <a:ea typeface="+mn-ea"/>
          <a:cs typeface="+mn-cs"/>
        </a:defRPr>
      </a:lvl4pPr>
      <a:lvl5pPr marL="9396413" indent="-1042988" algn="l" defTabSz="4175125" rtl="0" fontAlgn="base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9100" kern="1200">
          <a:solidFill>
            <a:schemeClr val="tx1"/>
          </a:solidFill>
          <a:latin typeface="+mn-lt"/>
          <a:ea typeface="+mn-ea"/>
          <a:cs typeface="+mn-cs"/>
        </a:defRPr>
      </a:lvl5pPr>
      <a:lvl6pPr marL="11485184" indent="-1044108" algn="l" defTabSz="4176431" rtl="0" eaLnBrk="1" latinLnBrk="0" hangingPunct="1">
        <a:spcBef>
          <a:spcPct val="20000"/>
        </a:spcBef>
        <a:buFont typeface="Arial" panose="020B0604020202020204" pitchFamily="34" charset="0"/>
        <a:buChar char="•"/>
        <a:defRPr sz="9100" kern="1200">
          <a:solidFill>
            <a:schemeClr val="tx1"/>
          </a:solidFill>
          <a:latin typeface="+mn-lt"/>
          <a:ea typeface="+mn-ea"/>
          <a:cs typeface="+mn-cs"/>
        </a:defRPr>
      </a:lvl6pPr>
      <a:lvl7pPr marL="13573399" indent="-1044108" algn="l" defTabSz="4176431" rtl="0" eaLnBrk="1" latinLnBrk="0" hangingPunct="1">
        <a:spcBef>
          <a:spcPct val="20000"/>
        </a:spcBef>
        <a:buFont typeface="Arial" panose="020B0604020202020204" pitchFamily="34" charset="0"/>
        <a:buChar char="•"/>
        <a:defRPr sz="9100" kern="1200">
          <a:solidFill>
            <a:schemeClr val="tx1"/>
          </a:solidFill>
          <a:latin typeface="+mn-lt"/>
          <a:ea typeface="+mn-ea"/>
          <a:cs typeface="+mn-cs"/>
        </a:defRPr>
      </a:lvl7pPr>
      <a:lvl8pPr marL="15661615" indent="-1044108" algn="l" defTabSz="4176431" rtl="0" eaLnBrk="1" latinLnBrk="0" hangingPunct="1">
        <a:spcBef>
          <a:spcPct val="20000"/>
        </a:spcBef>
        <a:buFont typeface="Arial" panose="020B0604020202020204" pitchFamily="34" charset="0"/>
        <a:buChar char="•"/>
        <a:defRPr sz="9100" kern="1200">
          <a:solidFill>
            <a:schemeClr val="tx1"/>
          </a:solidFill>
          <a:latin typeface="+mn-lt"/>
          <a:ea typeface="+mn-ea"/>
          <a:cs typeface="+mn-cs"/>
        </a:defRPr>
      </a:lvl8pPr>
      <a:lvl9pPr marL="17749830" indent="-1044108" algn="l" defTabSz="4176431" rtl="0" eaLnBrk="1" latinLnBrk="0" hangingPunct="1">
        <a:spcBef>
          <a:spcPct val="20000"/>
        </a:spcBef>
        <a:buFont typeface="Arial" panose="020B0604020202020204" pitchFamily="34" charset="0"/>
        <a:buChar char="•"/>
        <a:defRPr sz="9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176431" rtl="0" eaLnBrk="1" latinLnBrk="0" hangingPunct="1">
        <a:defRPr sz="8200" kern="1200">
          <a:solidFill>
            <a:schemeClr val="tx1"/>
          </a:solidFill>
          <a:latin typeface="+mn-lt"/>
          <a:ea typeface="+mn-ea"/>
          <a:cs typeface="+mn-cs"/>
        </a:defRPr>
      </a:lvl1pPr>
      <a:lvl2pPr marL="2088215" algn="l" defTabSz="4176431" rtl="0" eaLnBrk="1" latinLnBrk="0" hangingPunct="1">
        <a:defRPr sz="8200" kern="1200">
          <a:solidFill>
            <a:schemeClr val="tx1"/>
          </a:solidFill>
          <a:latin typeface="+mn-lt"/>
          <a:ea typeface="+mn-ea"/>
          <a:cs typeface="+mn-cs"/>
        </a:defRPr>
      </a:lvl2pPr>
      <a:lvl3pPr marL="4176431" algn="l" defTabSz="4176431" rtl="0" eaLnBrk="1" latinLnBrk="0" hangingPunct="1">
        <a:defRPr sz="8200" kern="1200">
          <a:solidFill>
            <a:schemeClr val="tx1"/>
          </a:solidFill>
          <a:latin typeface="+mn-lt"/>
          <a:ea typeface="+mn-ea"/>
          <a:cs typeface="+mn-cs"/>
        </a:defRPr>
      </a:lvl3pPr>
      <a:lvl4pPr marL="6264646" algn="l" defTabSz="4176431" rtl="0" eaLnBrk="1" latinLnBrk="0" hangingPunct="1">
        <a:defRPr sz="8200" kern="1200">
          <a:solidFill>
            <a:schemeClr val="tx1"/>
          </a:solidFill>
          <a:latin typeface="+mn-lt"/>
          <a:ea typeface="+mn-ea"/>
          <a:cs typeface="+mn-cs"/>
        </a:defRPr>
      </a:lvl4pPr>
      <a:lvl5pPr marL="8352861" algn="l" defTabSz="4176431" rtl="0" eaLnBrk="1" latinLnBrk="0" hangingPunct="1">
        <a:defRPr sz="8200" kern="1200">
          <a:solidFill>
            <a:schemeClr val="tx1"/>
          </a:solidFill>
          <a:latin typeface="+mn-lt"/>
          <a:ea typeface="+mn-ea"/>
          <a:cs typeface="+mn-cs"/>
        </a:defRPr>
      </a:lvl5pPr>
      <a:lvl6pPr marL="10441076" algn="l" defTabSz="4176431" rtl="0" eaLnBrk="1" latinLnBrk="0" hangingPunct="1">
        <a:defRPr sz="8200" kern="1200">
          <a:solidFill>
            <a:schemeClr val="tx1"/>
          </a:solidFill>
          <a:latin typeface="+mn-lt"/>
          <a:ea typeface="+mn-ea"/>
          <a:cs typeface="+mn-cs"/>
        </a:defRPr>
      </a:lvl6pPr>
      <a:lvl7pPr marL="12529292" algn="l" defTabSz="4176431" rtl="0" eaLnBrk="1" latinLnBrk="0" hangingPunct="1">
        <a:defRPr sz="8200" kern="1200">
          <a:solidFill>
            <a:schemeClr val="tx1"/>
          </a:solidFill>
          <a:latin typeface="+mn-lt"/>
          <a:ea typeface="+mn-ea"/>
          <a:cs typeface="+mn-cs"/>
        </a:defRPr>
      </a:lvl7pPr>
      <a:lvl8pPr marL="14617507" algn="l" defTabSz="4176431" rtl="0" eaLnBrk="1" latinLnBrk="0" hangingPunct="1">
        <a:defRPr sz="8200" kern="1200">
          <a:solidFill>
            <a:schemeClr val="tx1"/>
          </a:solidFill>
          <a:latin typeface="+mn-lt"/>
          <a:ea typeface="+mn-ea"/>
          <a:cs typeface="+mn-cs"/>
        </a:defRPr>
      </a:lvl8pPr>
      <a:lvl9pPr marL="16705722" algn="l" defTabSz="4176431" rtl="0" eaLnBrk="1" latinLnBrk="0" hangingPunct="1">
        <a:defRPr sz="8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812901" y="1813928"/>
            <a:ext cx="39096481" cy="4738132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812901" y="6552060"/>
            <a:ext cx="39096481" cy="18756091"/>
          </a:xfrm>
          <a:prstGeom prst="rect">
            <a:avLst/>
          </a:prstGeom>
        </p:spPr>
        <p:txBody>
          <a:bodyPr vert="horz" lIns="10800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6251317" y="27165266"/>
            <a:ext cx="23980449" cy="15895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4214">
                <a:solidFill>
                  <a:srgbClr val="7F7F7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812901" y="27165266"/>
            <a:ext cx="3210731" cy="15895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4214">
                <a:solidFill>
                  <a:srgbClr val="7F7F7F"/>
                </a:solidFill>
              </a:defRPr>
            </a:lvl1pPr>
          </a:lstStyle>
          <a:p>
            <a:fld id="{75A4F164-3A46-4CEE-A25C-CA523D5E42F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42435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</p:sldLayoutIdLst>
  <p:txStyles>
    <p:titleStyle>
      <a:lvl1pPr algn="l" defTabSz="3211098" rtl="0" eaLnBrk="1" latinLnBrk="0" hangingPunct="1">
        <a:spcBef>
          <a:spcPct val="0"/>
        </a:spcBef>
        <a:buNone/>
        <a:defRPr sz="12642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958870" indent="-958870" algn="l" defTabSz="3211098" rtl="0" eaLnBrk="1" latinLnBrk="0" hangingPunct="1">
        <a:spcBef>
          <a:spcPts val="0"/>
        </a:spcBef>
        <a:spcAft>
          <a:spcPts val="3512"/>
        </a:spcAft>
        <a:buFont typeface="Wingdings" panose="05000000000000000000" pitchFamily="2" charset="2"/>
        <a:buChar char="§"/>
        <a:defRPr sz="7726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1pPr>
      <a:lvl2pPr marL="2837587" indent="-958870" algn="l" defTabSz="3211098" rtl="0" eaLnBrk="1" latinLnBrk="0" hangingPunct="1">
        <a:spcBef>
          <a:spcPts val="0"/>
        </a:spcBef>
        <a:spcAft>
          <a:spcPts val="3512"/>
        </a:spcAft>
        <a:buFont typeface="Symbol" panose="05050102010706020507" pitchFamily="18" charset="2"/>
        <a:buChar char="-"/>
        <a:defRPr sz="7023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2pPr>
      <a:lvl3pPr marL="3796457" indent="-624380" algn="l" defTabSz="3211098" rtl="0" eaLnBrk="1" latinLnBrk="0" hangingPunct="1">
        <a:spcBef>
          <a:spcPts val="0"/>
        </a:spcBef>
        <a:spcAft>
          <a:spcPts val="3512"/>
        </a:spcAft>
        <a:buFont typeface="Symbol" panose="05050102010706020507" pitchFamily="18" charset="2"/>
        <a:buChar char="-"/>
        <a:defRPr sz="6321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3pPr>
      <a:lvl4pPr marL="5045217" indent="-624380" algn="l" defTabSz="3211098" rtl="0" eaLnBrk="1" latinLnBrk="0" hangingPunct="1">
        <a:spcBef>
          <a:spcPts val="0"/>
        </a:spcBef>
        <a:spcAft>
          <a:spcPts val="3512"/>
        </a:spcAft>
        <a:buFont typeface="Symbol" panose="05050102010706020507" pitchFamily="18" charset="2"/>
        <a:buChar char="-"/>
        <a:defRPr sz="5619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4pPr>
      <a:lvl5pPr marL="6299551" indent="-629957" algn="l" defTabSz="3211098" rtl="0" eaLnBrk="1" latinLnBrk="0" hangingPunct="1">
        <a:spcBef>
          <a:spcPts val="0"/>
        </a:spcBef>
        <a:spcAft>
          <a:spcPts val="3512"/>
        </a:spcAft>
        <a:buFont typeface="Symbol" panose="05050102010706020507" pitchFamily="18" charset="2"/>
        <a:buChar char="-"/>
        <a:defRPr sz="5619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5pPr>
      <a:lvl6pPr marL="8830521" indent="-802775" algn="l" defTabSz="3211098" rtl="0" eaLnBrk="1" latinLnBrk="0" hangingPunct="1">
        <a:spcBef>
          <a:spcPct val="20000"/>
        </a:spcBef>
        <a:buFont typeface="Arial" panose="020B0604020202020204" pitchFamily="34" charset="0"/>
        <a:buChar char="•"/>
        <a:defRPr sz="7023" kern="1200">
          <a:solidFill>
            <a:schemeClr val="tx1"/>
          </a:solidFill>
          <a:latin typeface="+mn-lt"/>
          <a:ea typeface="+mn-ea"/>
          <a:cs typeface="+mn-cs"/>
        </a:defRPr>
      </a:lvl6pPr>
      <a:lvl7pPr marL="10436070" indent="-802775" algn="l" defTabSz="3211098" rtl="0" eaLnBrk="1" latinLnBrk="0" hangingPunct="1">
        <a:spcBef>
          <a:spcPct val="20000"/>
        </a:spcBef>
        <a:buFont typeface="Arial" panose="020B0604020202020204" pitchFamily="34" charset="0"/>
        <a:buChar char="•"/>
        <a:defRPr sz="7023" kern="1200">
          <a:solidFill>
            <a:schemeClr val="tx1"/>
          </a:solidFill>
          <a:latin typeface="+mn-lt"/>
          <a:ea typeface="+mn-ea"/>
          <a:cs typeface="+mn-cs"/>
        </a:defRPr>
      </a:lvl7pPr>
      <a:lvl8pPr marL="12041619" indent="-802775" algn="l" defTabSz="3211098" rtl="0" eaLnBrk="1" latinLnBrk="0" hangingPunct="1">
        <a:spcBef>
          <a:spcPct val="20000"/>
        </a:spcBef>
        <a:buFont typeface="Arial" panose="020B0604020202020204" pitchFamily="34" charset="0"/>
        <a:buChar char="•"/>
        <a:defRPr sz="7023" kern="1200">
          <a:solidFill>
            <a:schemeClr val="tx1"/>
          </a:solidFill>
          <a:latin typeface="+mn-lt"/>
          <a:ea typeface="+mn-ea"/>
          <a:cs typeface="+mn-cs"/>
        </a:defRPr>
      </a:lvl8pPr>
      <a:lvl9pPr marL="13647169" indent="-802775" algn="l" defTabSz="3211098" rtl="0" eaLnBrk="1" latinLnBrk="0" hangingPunct="1">
        <a:spcBef>
          <a:spcPct val="20000"/>
        </a:spcBef>
        <a:buFont typeface="Arial" panose="020B0604020202020204" pitchFamily="34" charset="0"/>
        <a:buChar char="•"/>
        <a:defRPr sz="702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3211098" rtl="0" eaLnBrk="1" latinLnBrk="0" hangingPunct="1">
        <a:defRPr sz="6321" kern="1200">
          <a:solidFill>
            <a:schemeClr val="tx1"/>
          </a:solidFill>
          <a:latin typeface="+mn-lt"/>
          <a:ea typeface="+mn-ea"/>
          <a:cs typeface="+mn-cs"/>
        </a:defRPr>
      </a:lvl1pPr>
      <a:lvl2pPr marL="1605549" algn="l" defTabSz="3211098" rtl="0" eaLnBrk="1" latinLnBrk="0" hangingPunct="1">
        <a:defRPr sz="6321" kern="1200">
          <a:solidFill>
            <a:schemeClr val="tx1"/>
          </a:solidFill>
          <a:latin typeface="+mn-lt"/>
          <a:ea typeface="+mn-ea"/>
          <a:cs typeface="+mn-cs"/>
        </a:defRPr>
      </a:lvl2pPr>
      <a:lvl3pPr marL="3211098" algn="l" defTabSz="3211098" rtl="0" eaLnBrk="1" latinLnBrk="0" hangingPunct="1">
        <a:defRPr sz="6321" kern="1200">
          <a:solidFill>
            <a:schemeClr val="tx1"/>
          </a:solidFill>
          <a:latin typeface="+mn-lt"/>
          <a:ea typeface="+mn-ea"/>
          <a:cs typeface="+mn-cs"/>
        </a:defRPr>
      </a:lvl3pPr>
      <a:lvl4pPr marL="4816648" algn="l" defTabSz="3211098" rtl="0" eaLnBrk="1" latinLnBrk="0" hangingPunct="1">
        <a:defRPr sz="6321" kern="1200">
          <a:solidFill>
            <a:schemeClr val="tx1"/>
          </a:solidFill>
          <a:latin typeface="+mn-lt"/>
          <a:ea typeface="+mn-ea"/>
          <a:cs typeface="+mn-cs"/>
        </a:defRPr>
      </a:lvl4pPr>
      <a:lvl5pPr marL="6422197" algn="l" defTabSz="3211098" rtl="0" eaLnBrk="1" latinLnBrk="0" hangingPunct="1">
        <a:defRPr sz="6321" kern="1200">
          <a:solidFill>
            <a:schemeClr val="tx1"/>
          </a:solidFill>
          <a:latin typeface="+mn-lt"/>
          <a:ea typeface="+mn-ea"/>
          <a:cs typeface="+mn-cs"/>
        </a:defRPr>
      </a:lvl5pPr>
      <a:lvl6pPr marL="8027746" algn="l" defTabSz="3211098" rtl="0" eaLnBrk="1" latinLnBrk="0" hangingPunct="1">
        <a:defRPr sz="6321" kern="1200">
          <a:solidFill>
            <a:schemeClr val="tx1"/>
          </a:solidFill>
          <a:latin typeface="+mn-lt"/>
          <a:ea typeface="+mn-ea"/>
          <a:cs typeface="+mn-cs"/>
        </a:defRPr>
      </a:lvl6pPr>
      <a:lvl7pPr marL="9633295" algn="l" defTabSz="3211098" rtl="0" eaLnBrk="1" latinLnBrk="0" hangingPunct="1">
        <a:defRPr sz="6321" kern="1200">
          <a:solidFill>
            <a:schemeClr val="tx1"/>
          </a:solidFill>
          <a:latin typeface="+mn-lt"/>
          <a:ea typeface="+mn-ea"/>
          <a:cs typeface="+mn-cs"/>
        </a:defRPr>
      </a:lvl7pPr>
      <a:lvl8pPr marL="11238845" algn="l" defTabSz="3211098" rtl="0" eaLnBrk="1" latinLnBrk="0" hangingPunct="1">
        <a:defRPr sz="6321" kern="1200">
          <a:solidFill>
            <a:schemeClr val="tx1"/>
          </a:solidFill>
          <a:latin typeface="+mn-lt"/>
          <a:ea typeface="+mn-ea"/>
          <a:cs typeface="+mn-cs"/>
        </a:defRPr>
      </a:lvl8pPr>
      <a:lvl9pPr marL="12844394" algn="l" defTabSz="3211098" rtl="0" eaLnBrk="1" latinLnBrk="0" hangingPunct="1">
        <a:defRPr sz="632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13" Type="http://schemas.openxmlformats.org/officeDocument/2006/relationships/image" Target="../media/image14.sv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12" Type="http://schemas.openxmlformats.org/officeDocument/2006/relationships/image" Target="../media/image13.png"/><Relationship Id="rId2" Type="http://schemas.openxmlformats.org/officeDocument/2006/relationships/image" Target="../media/image3.png"/><Relationship Id="rId16" Type="http://schemas.openxmlformats.org/officeDocument/2006/relationships/image" Target="../media/image17.sv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7.svg"/><Relationship Id="rId11" Type="http://schemas.openxmlformats.org/officeDocument/2006/relationships/image" Target="../media/image12.png"/><Relationship Id="rId5" Type="http://schemas.openxmlformats.org/officeDocument/2006/relationships/image" Target="../media/image6.png"/><Relationship Id="rId15" Type="http://schemas.openxmlformats.org/officeDocument/2006/relationships/image" Target="../media/image16.png"/><Relationship Id="rId10" Type="http://schemas.openxmlformats.org/officeDocument/2006/relationships/image" Target="../media/image11.svg"/><Relationship Id="rId4" Type="http://schemas.openxmlformats.org/officeDocument/2006/relationships/image" Target="../media/image5.png"/><Relationship Id="rId9" Type="http://schemas.openxmlformats.org/officeDocument/2006/relationships/image" Target="../media/image10.png"/><Relationship Id="rId14" Type="http://schemas.openxmlformats.org/officeDocument/2006/relationships/image" Target="../media/image1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" name="Ellipse 194">
            <a:extLst>
              <a:ext uri="{FF2B5EF4-FFF2-40B4-BE49-F238E27FC236}">
                <a16:creationId xmlns:a16="http://schemas.microsoft.com/office/drawing/2014/main" id="{C92FEB61-D460-4209-9621-3E6578778D24}"/>
              </a:ext>
            </a:extLst>
          </p:cNvPr>
          <p:cNvSpPr/>
          <p:nvPr/>
        </p:nvSpPr>
        <p:spPr>
          <a:xfrm rot="1584584">
            <a:off x="4729037" y="3572988"/>
            <a:ext cx="18002250" cy="11117263"/>
          </a:xfrm>
          <a:custGeom>
            <a:avLst/>
            <a:gdLst>
              <a:gd name="connsiteX0" fmla="*/ 0 w 18002250"/>
              <a:gd name="connsiteY0" fmla="*/ 5558632 h 11117263"/>
              <a:gd name="connsiteX1" fmla="*/ 9001125 w 18002250"/>
              <a:gd name="connsiteY1" fmla="*/ 0 h 11117263"/>
              <a:gd name="connsiteX2" fmla="*/ 18002250 w 18002250"/>
              <a:gd name="connsiteY2" fmla="*/ 5558632 h 11117263"/>
              <a:gd name="connsiteX3" fmla="*/ 9001125 w 18002250"/>
              <a:gd name="connsiteY3" fmla="*/ 11117264 h 11117263"/>
              <a:gd name="connsiteX4" fmla="*/ 0 w 18002250"/>
              <a:gd name="connsiteY4" fmla="*/ 5558632 h 11117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002250" h="11117263" fill="none" extrusionOk="0">
                <a:moveTo>
                  <a:pt x="0" y="5558632"/>
                </a:moveTo>
                <a:cubicBezTo>
                  <a:pt x="761982" y="2579078"/>
                  <a:pt x="4316196" y="-589110"/>
                  <a:pt x="9001125" y="0"/>
                </a:cubicBezTo>
                <a:cubicBezTo>
                  <a:pt x="13289819" y="-104513"/>
                  <a:pt x="17461645" y="2997659"/>
                  <a:pt x="18002250" y="5558632"/>
                </a:cubicBezTo>
                <a:cubicBezTo>
                  <a:pt x="17872780" y="7393903"/>
                  <a:pt x="13618517" y="11608934"/>
                  <a:pt x="9001125" y="11117264"/>
                </a:cubicBezTo>
                <a:cubicBezTo>
                  <a:pt x="4265883" y="11249354"/>
                  <a:pt x="550043" y="8760831"/>
                  <a:pt x="0" y="5558632"/>
                </a:cubicBezTo>
                <a:close/>
              </a:path>
              <a:path w="18002250" h="11117263" stroke="0" extrusionOk="0">
                <a:moveTo>
                  <a:pt x="0" y="5558632"/>
                </a:moveTo>
                <a:cubicBezTo>
                  <a:pt x="-1064332" y="1832180"/>
                  <a:pt x="3802692" y="85290"/>
                  <a:pt x="9001125" y="0"/>
                </a:cubicBezTo>
                <a:cubicBezTo>
                  <a:pt x="14561743" y="124090"/>
                  <a:pt x="17876171" y="2492693"/>
                  <a:pt x="18002250" y="5558632"/>
                </a:cubicBezTo>
                <a:cubicBezTo>
                  <a:pt x="17245797" y="9367298"/>
                  <a:pt x="13936495" y="11315221"/>
                  <a:pt x="9001125" y="11117264"/>
                </a:cubicBezTo>
                <a:cubicBezTo>
                  <a:pt x="3831723" y="11008814"/>
                  <a:pt x="762374" y="8992848"/>
                  <a:pt x="0" y="5558632"/>
                </a:cubicBezTo>
                <a:close/>
              </a:path>
            </a:pathLst>
          </a:custGeom>
          <a:solidFill>
            <a:schemeClr val="bg1"/>
          </a:solidFill>
          <a:ln w="63500">
            <a:solidFill>
              <a:schemeClr val="accent4"/>
            </a:solidFill>
            <a:prstDash val="sysDash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68538" tIns="168538" rIns="168538" bIns="168538" anchor="ctr"/>
          <a:lstStyle/>
          <a:p>
            <a:pPr algn="ctr" defTabSz="428085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4800" b="1" dirty="0">
              <a:solidFill>
                <a:prstClr val="white">
                  <a:lumMod val="50000"/>
                </a:prstClr>
              </a:solidFill>
              <a:latin typeface="Michelin SemiBold"/>
            </a:endParaRPr>
          </a:p>
        </p:txBody>
      </p:sp>
      <p:sp>
        <p:nvSpPr>
          <p:cNvPr id="819" name="Ellipse 818">
            <a:extLst>
              <a:ext uri="{FF2B5EF4-FFF2-40B4-BE49-F238E27FC236}">
                <a16:creationId xmlns:a16="http://schemas.microsoft.com/office/drawing/2014/main" id="{9DFA471D-F1BF-4879-8F77-6B7EF658579F}"/>
              </a:ext>
            </a:extLst>
          </p:cNvPr>
          <p:cNvSpPr/>
          <p:nvPr/>
        </p:nvSpPr>
        <p:spPr>
          <a:xfrm rot="20426594">
            <a:off x="17106775" y="4569938"/>
            <a:ext cx="23944262" cy="8896350"/>
          </a:xfrm>
          <a:custGeom>
            <a:avLst/>
            <a:gdLst>
              <a:gd name="connsiteX0" fmla="*/ 0 w 23944262"/>
              <a:gd name="connsiteY0" fmla="*/ 4448175 h 8896350"/>
              <a:gd name="connsiteX1" fmla="*/ 11972131 w 23944262"/>
              <a:gd name="connsiteY1" fmla="*/ 0 h 8896350"/>
              <a:gd name="connsiteX2" fmla="*/ 23944262 w 23944262"/>
              <a:gd name="connsiteY2" fmla="*/ 4448175 h 8896350"/>
              <a:gd name="connsiteX3" fmla="*/ 11972131 w 23944262"/>
              <a:gd name="connsiteY3" fmla="*/ 8896350 h 8896350"/>
              <a:gd name="connsiteX4" fmla="*/ 0 w 23944262"/>
              <a:gd name="connsiteY4" fmla="*/ 4448175 h 8896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3944262" h="8896350" fill="none" extrusionOk="0">
                <a:moveTo>
                  <a:pt x="0" y="4448175"/>
                </a:moveTo>
                <a:cubicBezTo>
                  <a:pt x="1174160" y="875530"/>
                  <a:pt x="6414833" y="69600"/>
                  <a:pt x="11972131" y="0"/>
                </a:cubicBezTo>
                <a:cubicBezTo>
                  <a:pt x="18651255" y="114693"/>
                  <a:pt x="23465855" y="1981237"/>
                  <a:pt x="23944262" y="4448175"/>
                </a:cubicBezTo>
                <a:cubicBezTo>
                  <a:pt x="25283412" y="7099029"/>
                  <a:pt x="18155207" y="8700591"/>
                  <a:pt x="11972131" y="8896350"/>
                </a:cubicBezTo>
                <a:cubicBezTo>
                  <a:pt x="4687103" y="9097179"/>
                  <a:pt x="136514" y="6719775"/>
                  <a:pt x="0" y="4448175"/>
                </a:cubicBezTo>
                <a:close/>
              </a:path>
              <a:path w="23944262" h="8896350" stroke="0" extrusionOk="0">
                <a:moveTo>
                  <a:pt x="0" y="4448175"/>
                </a:moveTo>
                <a:cubicBezTo>
                  <a:pt x="-421365" y="2730779"/>
                  <a:pt x="4247155" y="-459584"/>
                  <a:pt x="11972131" y="0"/>
                </a:cubicBezTo>
                <a:cubicBezTo>
                  <a:pt x="18902083" y="-46935"/>
                  <a:pt x="23759041" y="2328865"/>
                  <a:pt x="23944262" y="4448175"/>
                </a:cubicBezTo>
                <a:cubicBezTo>
                  <a:pt x="22755308" y="7302217"/>
                  <a:pt x="17585381" y="10077406"/>
                  <a:pt x="11972131" y="8896350"/>
                </a:cubicBezTo>
                <a:cubicBezTo>
                  <a:pt x="5841859" y="8584585"/>
                  <a:pt x="-132869" y="6935312"/>
                  <a:pt x="0" y="4448175"/>
                </a:cubicBezTo>
                <a:close/>
              </a:path>
            </a:pathLst>
          </a:custGeom>
          <a:solidFill>
            <a:schemeClr val="bg1"/>
          </a:solidFill>
          <a:ln w="63500">
            <a:solidFill>
              <a:schemeClr val="accent3"/>
            </a:solidFill>
            <a:prstDash val="sysDash"/>
            <a:extLst>
              <a:ext uri="{C807C97D-BFC1-408E-A445-0C87EB9F89A2}">
                <ask:lineSketchStyleProps xmlns:ask="http://schemas.microsoft.com/office/drawing/2018/sketchyshapes" sd="981765707">
                  <a:prstGeom prst="ellipse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68538" tIns="168538" rIns="168538" bIns="168538" anchor="ctr"/>
          <a:lstStyle/>
          <a:p>
            <a:pPr algn="ctr" defTabSz="428085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4800" b="1" dirty="0">
              <a:solidFill>
                <a:prstClr val="white">
                  <a:lumMod val="50000"/>
                </a:prstClr>
              </a:solidFill>
              <a:latin typeface="Michelin SemiBold"/>
            </a:endParaRPr>
          </a:p>
        </p:txBody>
      </p:sp>
      <p:sp>
        <p:nvSpPr>
          <p:cNvPr id="844" name="Ellipse 843">
            <a:extLst>
              <a:ext uri="{FF2B5EF4-FFF2-40B4-BE49-F238E27FC236}">
                <a16:creationId xmlns:a16="http://schemas.microsoft.com/office/drawing/2014/main" id="{E9833108-9AED-44E2-808F-59994C32E87C}"/>
              </a:ext>
            </a:extLst>
          </p:cNvPr>
          <p:cNvSpPr/>
          <p:nvPr/>
        </p:nvSpPr>
        <p:spPr>
          <a:xfrm rot="21370499">
            <a:off x="3173287" y="15296676"/>
            <a:ext cx="33804225" cy="10153650"/>
          </a:xfrm>
          <a:custGeom>
            <a:avLst/>
            <a:gdLst>
              <a:gd name="connsiteX0" fmla="*/ 0 w 33804225"/>
              <a:gd name="connsiteY0" fmla="*/ 5076825 h 10153650"/>
              <a:gd name="connsiteX1" fmla="*/ 16902113 w 33804225"/>
              <a:gd name="connsiteY1" fmla="*/ 0 h 10153650"/>
              <a:gd name="connsiteX2" fmla="*/ 33804226 w 33804225"/>
              <a:gd name="connsiteY2" fmla="*/ 5076825 h 10153650"/>
              <a:gd name="connsiteX3" fmla="*/ 16902113 w 33804225"/>
              <a:gd name="connsiteY3" fmla="*/ 10153650 h 10153650"/>
              <a:gd name="connsiteX4" fmla="*/ 0 w 33804225"/>
              <a:gd name="connsiteY4" fmla="*/ 5076825 h 10153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804225" h="10153650" fill="none" extrusionOk="0">
                <a:moveTo>
                  <a:pt x="0" y="5076825"/>
                </a:moveTo>
                <a:cubicBezTo>
                  <a:pt x="604825" y="2344722"/>
                  <a:pt x="8483124" y="-1884688"/>
                  <a:pt x="16902113" y="0"/>
                </a:cubicBezTo>
                <a:cubicBezTo>
                  <a:pt x="26049434" y="-28706"/>
                  <a:pt x="33423937" y="2631011"/>
                  <a:pt x="33804226" y="5076825"/>
                </a:cubicBezTo>
                <a:cubicBezTo>
                  <a:pt x="33616862" y="6093906"/>
                  <a:pt x="25098053" y="11736313"/>
                  <a:pt x="16902113" y="10153650"/>
                </a:cubicBezTo>
                <a:cubicBezTo>
                  <a:pt x="7936280" y="10360201"/>
                  <a:pt x="306411" y="7954351"/>
                  <a:pt x="0" y="5076825"/>
                </a:cubicBezTo>
                <a:close/>
              </a:path>
              <a:path w="33804225" h="10153650" stroke="0" extrusionOk="0">
                <a:moveTo>
                  <a:pt x="0" y="5076825"/>
                </a:moveTo>
                <a:cubicBezTo>
                  <a:pt x="-371331" y="2043926"/>
                  <a:pt x="5657697" y="716717"/>
                  <a:pt x="16902113" y="0"/>
                </a:cubicBezTo>
                <a:cubicBezTo>
                  <a:pt x="26387380" y="31681"/>
                  <a:pt x="33172898" y="2293046"/>
                  <a:pt x="33804226" y="5076825"/>
                </a:cubicBezTo>
                <a:cubicBezTo>
                  <a:pt x="33441677" y="8234727"/>
                  <a:pt x="26193920" y="10391171"/>
                  <a:pt x="16902113" y="10153650"/>
                </a:cubicBezTo>
                <a:cubicBezTo>
                  <a:pt x="7334351" y="10026180"/>
                  <a:pt x="712470" y="8221102"/>
                  <a:pt x="0" y="5076825"/>
                </a:cubicBezTo>
                <a:close/>
              </a:path>
            </a:pathLst>
          </a:custGeom>
          <a:solidFill>
            <a:schemeClr val="bg1"/>
          </a:solidFill>
          <a:ln w="63500">
            <a:solidFill>
              <a:srgbClr val="FFC000"/>
            </a:solidFill>
            <a:prstDash val="sysDash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68538" tIns="168538" rIns="168538" bIns="168538" anchor="ctr"/>
          <a:lstStyle/>
          <a:p>
            <a:pPr algn="ctr" defTabSz="428085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4800" b="1" dirty="0">
              <a:solidFill>
                <a:prstClr val="white">
                  <a:lumMod val="50000"/>
                </a:prstClr>
              </a:solidFill>
              <a:latin typeface="Michelin SemiBold"/>
            </a:endParaRPr>
          </a:p>
        </p:txBody>
      </p:sp>
      <p:cxnSp>
        <p:nvCxnSpPr>
          <p:cNvPr id="6151" name="Connecteur droit 201">
            <a:extLst>
              <a:ext uri="{FF2B5EF4-FFF2-40B4-BE49-F238E27FC236}">
                <a16:creationId xmlns:a16="http://schemas.microsoft.com/office/drawing/2014/main" id="{1F89CB42-1318-4FF5-94D4-C94DA2C7BCCD}"/>
              </a:ext>
            </a:extLst>
          </p:cNvPr>
          <p:cNvCxnSpPr>
            <a:cxnSpLocks/>
          </p:cNvCxnSpPr>
          <p:nvPr/>
        </p:nvCxnSpPr>
        <p:spPr bwMode="auto">
          <a:xfrm flipV="1">
            <a:off x="21423187" y="14279088"/>
            <a:ext cx="9586913" cy="58738"/>
          </a:xfrm>
          <a:prstGeom prst="line">
            <a:avLst/>
          </a:prstGeom>
          <a:noFill/>
          <a:ln w="254000" algn="ctr">
            <a:solidFill>
              <a:srgbClr val="23A29F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6152" name="Connecteur droit 590">
            <a:extLst>
              <a:ext uri="{FF2B5EF4-FFF2-40B4-BE49-F238E27FC236}">
                <a16:creationId xmlns:a16="http://schemas.microsoft.com/office/drawing/2014/main" id="{34BE9111-7FDB-442C-82D7-F4F93647BDBC}"/>
              </a:ext>
            </a:extLst>
          </p:cNvPr>
          <p:cNvCxnSpPr>
            <a:cxnSpLocks/>
          </p:cNvCxnSpPr>
          <p:nvPr/>
        </p:nvCxnSpPr>
        <p:spPr bwMode="auto">
          <a:xfrm flipH="1" flipV="1">
            <a:off x="21423187" y="14337826"/>
            <a:ext cx="2798763" cy="5746750"/>
          </a:xfrm>
          <a:prstGeom prst="line">
            <a:avLst/>
          </a:prstGeom>
          <a:noFill/>
          <a:ln w="254000" algn="ctr">
            <a:solidFill>
              <a:srgbClr val="FFC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6153" name="Connecteur droit 591">
            <a:extLst>
              <a:ext uri="{FF2B5EF4-FFF2-40B4-BE49-F238E27FC236}">
                <a16:creationId xmlns:a16="http://schemas.microsoft.com/office/drawing/2014/main" id="{424011B2-A07E-421E-892E-AB3E95D2F647}"/>
              </a:ext>
            </a:extLst>
          </p:cNvPr>
          <p:cNvCxnSpPr>
            <a:cxnSpLocks/>
          </p:cNvCxnSpPr>
          <p:nvPr/>
        </p:nvCxnSpPr>
        <p:spPr bwMode="auto">
          <a:xfrm flipV="1">
            <a:off x="19157825" y="14533088"/>
            <a:ext cx="2265362" cy="5972175"/>
          </a:xfrm>
          <a:prstGeom prst="line">
            <a:avLst/>
          </a:prstGeom>
          <a:noFill/>
          <a:ln w="254000" algn="ctr">
            <a:solidFill>
              <a:srgbClr val="FFC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6154" name="Connecteur droit 592">
            <a:extLst>
              <a:ext uri="{FF2B5EF4-FFF2-40B4-BE49-F238E27FC236}">
                <a16:creationId xmlns:a16="http://schemas.microsoft.com/office/drawing/2014/main" id="{8A121B2D-08E7-490F-9980-5972907ADF78}"/>
              </a:ext>
            </a:extLst>
          </p:cNvPr>
          <p:cNvCxnSpPr>
            <a:cxnSpLocks/>
          </p:cNvCxnSpPr>
          <p:nvPr/>
        </p:nvCxnSpPr>
        <p:spPr bwMode="auto">
          <a:xfrm flipV="1">
            <a:off x="16541625" y="14337826"/>
            <a:ext cx="4881562" cy="3975100"/>
          </a:xfrm>
          <a:prstGeom prst="line">
            <a:avLst/>
          </a:prstGeom>
          <a:noFill/>
          <a:ln w="254000" algn="ctr">
            <a:solidFill>
              <a:srgbClr val="FFC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6155" name="Connecteur droit 674">
            <a:extLst>
              <a:ext uri="{FF2B5EF4-FFF2-40B4-BE49-F238E27FC236}">
                <a16:creationId xmlns:a16="http://schemas.microsoft.com/office/drawing/2014/main" id="{0977022D-2EC5-44E5-946C-B3F677CF2113}"/>
              </a:ext>
            </a:extLst>
          </p:cNvPr>
          <p:cNvCxnSpPr>
            <a:cxnSpLocks/>
          </p:cNvCxnSpPr>
          <p:nvPr/>
        </p:nvCxnSpPr>
        <p:spPr bwMode="auto">
          <a:xfrm flipH="1">
            <a:off x="21423187" y="4473101"/>
            <a:ext cx="4425950" cy="9864725"/>
          </a:xfrm>
          <a:prstGeom prst="line">
            <a:avLst/>
          </a:prstGeom>
          <a:noFill/>
          <a:ln w="254000" algn="ctr">
            <a:solidFill>
              <a:srgbClr val="CCCC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6156" name="Connecteur droit 675">
            <a:extLst>
              <a:ext uri="{FF2B5EF4-FFF2-40B4-BE49-F238E27FC236}">
                <a16:creationId xmlns:a16="http://schemas.microsoft.com/office/drawing/2014/main" id="{4A479AE5-2889-480E-B3F0-165EE34FEF2C}"/>
              </a:ext>
            </a:extLst>
          </p:cNvPr>
          <p:cNvCxnSpPr>
            <a:cxnSpLocks/>
            <a:endCxn id="392" idx="6"/>
          </p:cNvCxnSpPr>
          <p:nvPr/>
        </p:nvCxnSpPr>
        <p:spPr bwMode="auto">
          <a:xfrm flipH="1">
            <a:off x="12650662" y="14337826"/>
            <a:ext cx="8772525" cy="919162"/>
          </a:xfrm>
          <a:prstGeom prst="line">
            <a:avLst/>
          </a:prstGeom>
          <a:noFill/>
          <a:ln w="254000" algn="ctr">
            <a:solidFill>
              <a:srgbClr val="CCCC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420" name="Connecteur droit 419">
            <a:extLst>
              <a:ext uri="{FF2B5EF4-FFF2-40B4-BE49-F238E27FC236}">
                <a16:creationId xmlns:a16="http://schemas.microsoft.com/office/drawing/2014/main" id="{6D6DD2B6-8345-4729-A4B7-C0BABB9E8B9B}"/>
              </a:ext>
            </a:extLst>
          </p:cNvPr>
          <p:cNvCxnSpPr>
            <a:cxnSpLocks/>
          </p:cNvCxnSpPr>
          <p:nvPr/>
        </p:nvCxnSpPr>
        <p:spPr>
          <a:xfrm>
            <a:off x="20273837" y="6500338"/>
            <a:ext cx="1149350" cy="7837488"/>
          </a:xfrm>
          <a:prstGeom prst="line">
            <a:avLst/>
          </a:prstGeom>
          <a:noFill/>
          <a:ln w="254000" cap="flat" cmpd="sng" algn="ctr">
            <a:solidFill>
              <a:srgbClr val="204B7F"/>
            </a:solidFill>
            <a:prstDash val="solid"/>
            <a:miter lim="800000"/>
          </a:ln>
          <a:effectLst/>
        </p:spPr>
      </p:cxnSp>
      <p:sp>
        <p:nvSpPr>
          <p:cNvPr id="295" name="Rectangle 294">
            <a:extLst>
              <a:ext uri="{FF2B5EF4-FFF2-40B4-BE49-F238E27FC236}">
                <a16:creationId xmlns:a16="http://schemas.microsoft.com/office/drawing/2014/main" id="{82900C6A-70C9-4FFE-8088-8784C195F6E7}"/>
              </a:ext>
            </a:extLst>
          </p:cNvPr>
          <p:cNvSpPr/>
          <p:nvPr/>
        </p:nvSpPr>
        <p:spPr>
          <a:xfrm>
            <a:off x="17268700" y="21284726"/>
            <a:ext cx="8026400" cy="1677960"/>
          </a:xfrm>
          <a:prstGeom prst="rect">
            <a:avLst/>
          </a:prstGeom>
          <a:solidFill>
            <a:schemeClr val="bg1">
              <a:alpha val="75000"/>
            </a:schemeClr>
          </a:solidFill>
        </p:spPr>
        <p:txBody>
          <a:bodyPr>
            <a:spAutoFit/>
          </a:bodyPr>
          <a:lstStyle/>
          <a:p>
            <a:pPr algn="ctr" defTabSz="4280752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3200" kern="0" dirty="0">
                <a:solidFill>
                  <a:srgbClr val="44546A"/>
                </a:solidFill>
                <a:latin typeface="+mn-lt"/>
              </a:rPr>
              <a:t>PRODUCT VISION</a:t>
            </a:r>
          </a:p>
          <a:p>
            <a:pPr algn="ctr" defTabSz="4280752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3200" kern="0" dirty="0">
                <a:solidFill>
                  <a:srgbClr val="44546A"/>
                </a:solidFill>
                <a:latin typeface="Calibri"/>
              </a:rPr>
              <a:t>BUSINESS &amp; FUNCTIONNAL ARCHITECTURE</a:t>
            </a:r>
          </a:p>
          <a:p>
            <a:pPr algn="ctr" defTabSz="4280752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200" kern="0" dirty="0">
                <a:solidFill>
                  <a:srgbClr val="44546A"/>
                </a:solidFill>
                <a:latin typeface="Calibri"/>
              </a:rPr>
              <a:t>EVOLUTIONARY ARCHITECTURE</a:t>
            </a:r>
          </a:p>
          <a:p>
            <a:pPr algn="ctr" defTabSz="4280752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3200" kern="0" dirty="0">
                <a:solidFill>
                  <a:srgbClr val="44546A"/>
                </a:solidFill>
                <a:latin typeface="+mn-lt"/>
              </a:rPr>
              <a:t>RISK MANAGEMENT</a:t>
            </a:r>
          </a:p>
        </p:txBody>
      </p:sp>
      <p:sp>
        <p:nvSpPr>
          <p:cNvPr id="296" name="ZoneTexte 295">
            <a:extLst>
              <a:ext uri="{FF2B5EF4-FFF2-40B4-BE49-F238E27FC236}">
                <a16:creationId xmlns:a16="http://schemas.microsoft.com/office/drawing/2014/main" id="{2F38F585-5487-4139-A026-2A4CF2B7DA0E}"/>
              </a:ext>
            </a:extLst>
          </p:cNvPr>
          <p:cNvSpPr txBox="1"/>
          <p:nvPr/>
        </p:nvSpPr>
        <p:spPr>
          <a:xfrm>
            <a:off x="17816387" y="20721163"/>
            <a:ext cx="6713538" cy="6985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 defTabSz="4280752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4800" b="1" kern="0" dirty="0">
                <a:solidFill>
                  <a:srgbClr val="44546A"/>
                </a:solidFill>
                <a:latin typeface="Calibri"/>
              </a:rPr>
              <a:t>PRODUCT ARCHITECTURE</a:t>
            </a:r>
          </a:p>
        </p:txBody>
      </p:sp>
      <p:sp>
        <p:nvSpPr>
          <p:cNvPr id="306" name="ZoneTexte 305">
            <a:extLst>
              <a:ext uri="{FF2B5EF4-FFF2-40B4-BE49-F238E27FC236}">
                <a16:creationId xmlns:a16="http://schemas.microsoft.com/office/drawing/2014/main" id="{FDC603D4-B223-4AC8-93C2-553FE5B592EE}"/>
              </a:ext>
            </a:extLst>
          </p:cNvPr>
          <p:cNvSpPr txBox="1"/>
          <p:nvPr/>
        </p:nvSpPr>
        <p:spPr>
          <a:xfrm>
            <a:off x="19408650" y="16593663"/>
            <a:ext cx="5075237" cy="703263"/>
          </a:xfrm>
          <a:prstGeom prst="rect">
            <a:avLst/>
          </a:prstGeom>
          <a:solidFill>
            <a:schemeClr val="bg1">
              <a:alpha val="68000"/>
            </a:schemeClr>
          </a:solidFill>
        </p:spPr>
        <p:txBody>
          <a:bodyPr wrap="none">
            <a:spAutoFit/>
          </a:bodyPr>
          <a:lstStyle/>
          <a:p>
            <a:pPr algn="ctr" defTabSz="4280752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4800" b="1" kern="0" dirty="0">
                <a:solidFill>
                  <a:srgbClr val="44546A"/>
                </a:solidFill>
                <a:latin typeface="Calibri"/>
              </a:rPr>
              <a:t>CONNECT THE DOT</a:t>
            </a:r>
          </a:p>
        </p:txBody>
      </p:sp>
      <p:sp>
        <p:nvSpPr>
          <p:cNvPr id="307" name="Rectangle 306">
            <a:extLst>
              <a:ext uri="{FF2B5EF4-FFF2-40B4-BE49-F238E27FC236}">
                <a16:creationId xmlns:a16="http://schemas.microsoft.com/office/drawing/2014/main" id="{3415E014-3B1B-4513-91B9-F285C8D7900C}"/>
              </a:ext>
            </a:extLst>
          </p:cNvPr>
          <p:cNvSpPr/>
          <p:nvPr/>
        </p:nvSpPr>
        <p:spPr>
          <a:xfrm>
            <a:off x="17429037" y="17120713"/>
            <a:ext cx="9147175" cy="998538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defTabSz="4280752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600" b="1" kern="0" dirty="0">
                <a:solidFill>
                  <a:srgbClr val="4BACC6"/>
                </a:solidFill>
                <a:latin typeface="Calibri"/>
              </a:rPr>
              <a:t>Promote Reference Architecture</a:t>
            </a:r>
            <a:endParaRPr lang="fr-FR" sz="3600" b="1" kern="0" dirty="0">
              <a:solidFill>
                <a:srgbClr val="4BACC6"/>
              </a:solidFill>
              <a:latin typeface="Calibri"/>
            </a:endParaRPr>
          </a:p>
          <a:p>
            <a:pPr algn="ctr" defTabSz="4280752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3600" b="1" kern="0" dirty="0">
                <a:solidFill>
                  <a:srgbClr val="44546A"/>
                </a:solidFill>
                <a:latin typeface="Calibri"/>
              </a:rPr>
              <a:t>EXPLAIN, CONTEXTUALIZE </a:t>
            </a:r>
          </a:p>
        </p:txBody>
      </p:sp>
      <p:sp>
        <p:nvSpPr>
          <p:cNvPr id="699" name="Ellipse 698">
            <a:extLst>
              <a:ext uri="{FF2B5EF4-FFF2-40B4-BE49-F238E27FC236}">
                <a16:creationId xmlns:a16="http://schemas.microsoft.com/office/drawing/2014/main" id="{0A5B545E-313C-4C41-A7C1-4AF170505C34}"/>
              </a:ext>
            </a:extLst>
          </p:cNvPr>
          <p:cNvSpPr/>
          <p:nvPr/>
        </p:nvSpPr>
        <p:spPr>
          <a:xfrm>
            <a:off x="15933612" y="9284813"/>
            <a:ext cx="10801350" cy="10799763"/>
          </a:xfrm>
          <a:prstGeom prst="ellipse">
            <a:avLst/>
          </a:prstGeom>
          <a:solidFill>
            <a:schemeClr val="bg1"/>
          </a:solidFill>
          <a:ln w="101600" cap="rnd">
            <a:solidFill>
              <a:srgbClr val="D0D01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28085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8000">
              <a:solidFill>
                <a:prstClr val="white"/>
              </a:solidFill>
            </a:endParaRPr>
          </a:p>
        </p:txBody>
      </p:sp>
      <p:sp>
        <p:nvSpPr>
          <p:cNvPr id="6170" name="Rectangle 856">
            <a:extLst>
              <a:ext uri="{FF2B5EF4-FFF2-40B4-BE49-F238E27FC236}">
                <a16:creationId xmlns:a16="http://schemas.microsoft.com/office/drawing/2014/main" id="{57B8C482-AD9E-4067-87C1-136B58EC5BD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56325" y="21216463"/>
            <a:ext cx="8212137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175125" fontAlgn="base">
              <a:spcBef>
                <a:spcPct val="0"/>
              </a:spcBef>
              <a:spcAft>
                <a:spcPct val="0"/>
              </a:spcAft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175125" fontAlgn="base">
              <a:spcBef>
                <a:spcPct val="0"/>
              </a:spcBef>
              <a:spcAft>
                <a:spcPct val="0"/>
              </a:spcAft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175125" fontAlgn="base">
              <a:spcBef>
                <a:spcPct val="0"/>
              </a:spcBef>
              <a:spcAft>
                <a:spcPct val="0"/>
              </a:spcAft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175125" fontAlgn="base">
              <a:spcBef>
                <a:spcPct val="0"/>
              </a:spcBef>
              <a:spcAft>
                <a:spcPct val="0"/>
              </a:spcAft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/>
            <a:endParaRPr lang="fr-FR" altLang="fr-FR" sz="4800" b="1">
              <a:solidFill>
                <a:srgbClr val="00B0F0"/>
              </a:solidFill>
              <a:latin typeface="Aharoni" panose="02010803020104030203" pitchFamily="2" charset="-79"/>
              <a:cs typeface="Aharoni" panose="02010803020104030203" pitchFamily="2" charset="-79"/>
            </a:endParaRPr>
          </a:p>
        </p:txBody>
      </p:sp>
      <p:sp>
        <p:nvSpPr>
          <p:cNvPr id="194" name="Ellipse 193">
            <a:extLst>
              <a:ext uri="{FF2B5EF4-FFF2-40B4-BE49-F238E27FC236}">
                <a16:creationId xmlns:a16="http://schemas.microsoft.com/office/drawing/2014/main" id="{DA1D64D2-087A-4951-887C-48D67FE7976B}"/>
              </a:ext>
            </a:extLst>
          </p:cNvPr>
          <p:cNvSpPr/>
          <p:nvPr/>
        </p:nvSpPr>
        <p:spPr>
          <a:xfrm>
            <a:off x="16848012" y="10196038"/>
            <a:ext cx="9001125" cy="8999538"/>
          </a:xfrm>
          <a:prstGeom prst="ellipse">
            <a:avLst/>
          </a:prstGeom>
          <a:solidFill>
            <a:schemeClr val="bg1"/>
          </a:solidFill>
          <a:ln w="304800">
            <a:solidFill>
              <a:srgbClr val="CCCC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8538" tIns="168538" rIns="168538" bIns="168538" anchor="ctr"/>
          <a:lstStyle/>
          <a:p>
            <a:pPr algn="ctr" defTabSz="428085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3200" b="1" dirty="0">
              <a:solidFill>
                <a:prstClr val="white">
                  <a:lumMod val="50000"/>
                </a:prstClr>
              </a:solidFill>
              <a:latin typeface="Michelin SemiBold"/>
            </a:endParaRPr>
          </a:p>
          <a:p>
            <a:pPr algn="ctr" defTabSz="428085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3200" b="1" dirty="0">
              <a:solidFill>
                <a:prstClr val="white">
                  <a:lumMod val="50000"/>
                </a:prstClr>
              </a:solidFill>
              <a:latin typeface="Michelin SemiBold"/>
            </a:endParaRPr>
          </a:p>
          <a:p>
            <a:pPr algn="ctr" defTabSz="428085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8800" b="1" dirty="0">
              <a:solidFill>
                <a:prstClr val="white">
                  <a:lumMod val="50000"/>
                </a:prstClr>
              </a:solidFill>
              <a:latin typeface="Michelin SemiBold"/>
            </a:endParaRPr>
          </a:p>
          <a:p>
            <a:pPr algn="ctr" defTabSz="428085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8800" b="1" dirty="0">
              <a:solidFill>
                <a:prstClr val="white">
                  <a:lumMod val="50000"/>
                </a:prstClr>
              </a:solidFill>
              <a:latin typeface="Michelin SemiBold"/>
            </a:endParaRPr>
          </a:p>
          <a:p>
            <a:pPr algn="ctr" defTabSz="428085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6000" b="1" dirty="0">
              <a:solidFill>
                <a:srgbClr val="CCCC00"/>
              </a:solidFill>
              <a:latin typeface="Michelin SemiBold"/>
            </a:endParaRPr>
          </a:p>
          <a:p>
            <a:pPr algn="ctr" defTabSz="428085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0" b="1" dirty="0">
                <a:solidFill>
                  <a:srgbClr val="CCCC00"/>
                </a:solidFill>
                <a:latin typeface="Michelin SemiBold"/>
              </a:rPr>
              <a:t>PRODUCT</a:t>
            </a:r>
          </a:p>
          <a:p>
            <a:pPr algn="ctr" defTabSz="428085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0" b="1" dirty="0">
                <a:solidFill>
                  <a:srgbClr val="CCCC00"/>
                </a:solidFill>
                <a:latin typeface="Michelin SemiBold"/>
              </a:rPr>
              <a:t>ARCHITECT</a:t>
            </a:r>
          </a:p>
        </p:txBody>
      </p:sp>
      <p:sp>
        <p:nvSpPr>
          <p:cNvPr id="199" name="ZoneTexte 198">
            <a:extLst>
              <a:ext uri="{FF2B5EF4-FFF2-40B4-BE49-F238E27FC236}">
                <a16:creationId xmlns:a16="http://schemas.microsoft.com/office/drawing/2014/main" id="{B13FEC1E-0136-4EBC-9447-46E78AC6FAA0}"/>
              </a:ext>
            </a:extLst>
          </p:cNvPr>
          <p:cNvSpPr txBox="1"/>
          <p:nvPr/>
        </p:nvSpPr>
        <p:spPr>
          <a:xfrm>
            <a:off x="21630827" y="18937311"/>
            <a:ext cx="12530138" cy="70326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defTabSz="4280752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4800" b="1" kern="0" dirty="0">
                <a:solidFill>
                  <a:srgbClr val="44546A"/>
                </a:solidFill>
                <a:latin typeface="Calibri"/>
              </a:rPr>
              <a:t>PRODUCT LIFE CYCLE</a:t>
            </a:r>
          </a:p>
        </p:txBody>
      </p:sp>
      <p:sp>
        <p:nvSpPr>
          <p:cNvPr id="200" name="Rectangle 199">
            <a:extLst>
              <a:ext uri="{FF2B5EF4-FFF2-40B4-BE49-F238E27FC236}">
                <a16:creationId xmlns:a16="http://schemas.microsoft.com/office/drawing/2014/main" id="{6C849194-D0DC-422F-9A1A-E1A6F4B83D6D}"/>
              </a:ext>
            </a:extLst>
          </p:cNvPr>
          <p:cNvSpPr/>
          <p:nvPr/>
        </p:nvSpPr>
        <p:spPr>
          <a:xfrm>
            <a:off x="24056310" y="19452455"/>
            <a:ext cx="7298170" cy="1284006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defTabSz="4176431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3200" kern="0" dirty="0">
                <a:solidFill>
                  <a:srgbClr val="44546A"/>
                </a:solidFill>
                <a:latin typeface="+mn-lt"/>
              </a:rPr>
              <a:t>FROM IDEATION TO RETIREMENT</a:t>
            </a:r>
          </a:p>
          <a:p>
            <a:pPr algn="ctr" defTabSz="4176431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3200" kern="0" dirty="0">
                <a:solidFill>
                  <a:srgbClr val="44546A"/>
                </a:solidFill>
                <a:latin typeface="Calibri"/>
              </a:rPr>
              <a:t>PRODUCT AS A SERVICE</a:t>
            </a:r>
          </a:p>
          <a:p>
            <a:pPr algn="ctr" defTabSz="4176431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3200" kern="0" dirty="0">
                <a:solidFill>
                  <a:srgbClr val="44546A"/>
                </a:solidFill>
                <a:latin typeface="Calibri"/>
              </a:rPr>
              <a:t>FITNESS FUNCTION</a:t>
            </a:r>
          </a:p>
        </p:txBody>
      </p:sp>
      <p:sp>
        <p:nvSpPr>
          <p:cNvPr id="287" name="Ellipse 286">
            <a:extLst>
              <a:ext uri="{FF2B5EF4-FFF2-40B4-BE49-F238E27FC236}">
                <a16:creationId xmlns:a16="http://schemas.microsoft.com/office/drawing/2014/main" id="{DA69260C-FD2D-4CAF-88A6-E75A2130ABA5}"/>
              </a:ext>
            </a:extLst>
          </p:cNvPr>
          <p:cNvSpPr/>
          <p:nvPr/>
        </p:nvSpPr>
        <p:spPr>
          <a:xfrm>
            <a:off x="7660717" y="23200838"/>
            <a:ext cx="2309091" cy="2551113"/>
          </a:xfrm>
          <a:prstGeom prst="ellipse">
            <a:avLst/>
          </a:prstGeom>
          <a:solidFill>
            <a:schemeClr val="bg1"/>
          </a:solidFill>
          <a:ln w="2540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68538" tIns="168538" rIns="168538" bIns="168538" anchor="ctr"/>
          <a:lstStyle/>
          <a:p>
            <a:pPr algn="ctr" defTabSz="428075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400" b="1" dirty="0">
                <a:solidFill>
                  <a:srgbClr val="FFC000"/>
                </a:solidFill>
                <a:latin typeface="Michelin SemiBold"/>
              </a:rPr>
              <a:t>DELIVERY</a:t>
            </a:r>
          </a:p>
          <a:p>
            <a:pPr algn="ctr" defTabSz="428075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400" b="1" dirty="0">
                <a:solidFill>
                  <a:srgbClr val="FFC000"/>
                </a:solidFill>
                <a:latin typeface="Michelin SemiBold"/>
              </a:rPr>
              <a:t>SQUAD</a:t>
            </a:r>
          </a:p>
        </p:txBody>
      </p:sp>
      <p:sp>
        <p:nvSpPr>
          <p:cNvPr id="290" name="Ellipse 289">
            <a:extLst>
              <a:ext uri="{FF2B5EF4-FFF2-40B4-BE49-F238E27FC236}">
                <a16:creationId xmlns:a16="http://schemas.microsoft.com/office/drawing/2014/main" id="{A355E611-B0AB-4306-9DFB-BDD9432D49FC}"/>
              </a:ext>
            </a:extLst>
          </p:cNvPr>
          <p:cNvSpPr/>
          <p:nvPr/>
        </p:nvSpPr>
        <p:spPr>
          <a:xfrm>
            <a:off x="9704262" y="24408926"/>
            <a:ext cx="1693863" cy="1700212"/>
          </a:xfrm>
          <a:prstGeom prst="ellipse">
            <a:avLst/>
          </a:prstGeom>
          <a:solidFill>
            <a:schemeClr val="bg1"/>
          </a:solidFill>
          <a:ln w="152400">
            <a:solidFill>
              <a:srgbClr val="FAB9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168538" rIns="0" bIns="168538" anchor="ctr"/>
          <a:lstStyle/>
          <a:p>
            <a:pPr algn="ctr" defTabSz="417643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000" b="1" dirty="0">
                <a:solidFill>
                  <a:srgbClr val="FFC000"/>
                </a:solidFill>
                <a:latin typeface="Michelin SemiBold"/>
              </a:rPr>
              <a:t>TECH</a:t>
            </a:r>
          </a:p>
          <a:p>
            <a:pPr algn="ctr" defTabSz="417643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000" b="1" dirty="0">
                <a:solidFill>
                  <a:srgbClr val="FFC000"/>
                </a:solidFill>
                <a:latin typeface="Michelin SemiBold"/>
              </a:rPr>
              <a:t>LEAD</a:t>
            </a:r>
          </a:p>
        </p:txBody>
      </p:sp>
      <p:sp>
        <p:nvSpPr>
          <p:cNvPr id="291" name="Ellipse 290">
            <a:extLst>
              <a:ext uri="{FF2B5EF4-FFF2-40B4-BE49-F238E27FC236}">
                <a16:creationId xmlns:a16="http://schemas.microsoft.com/office/drawing/2014/main" id="{A5D44050-7ECD-40B1-B081-33C83CBF4D3E}"/>
              </a:ext>
            </a:extLst>
          </p:cNvPr>
          <p:cNvSpPr/>
          <p:nvPr/>
        </p:nvSpPr>
        <p:spPr>
          <a:xfrm>
            <a:off x="6386387" y="24477188"/>
            <a:ext cx="1693863" cy="1700213"/>
          </a:xfrm>
          <a:prstGeom prst="ellipse">
            <a:avLst/>
          </a:prstGeom>
          <a:solidFill>
            <a:schemeClr val="bg1"/>
          </a:solidFill>
          <a:ln w="152400">
            <a:solidFill>
              <a:srgbClr val="FAB9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168538" rIns="0" bIns="168538" anchor="ctr"/>
          <a:lstStyle/>
          <a:p>
            <a:pPr algn="ctr" defTabSz="417643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000" b="1" dirty="0">
                <a:solidFill>
                  <a:srgbClr val="FFC000"/>
                </a:solidFill>
                <a:latin typeface="Michelin SemiBold"/>
              </a:rPr>
              <a:t>DEV.</a:t>
            </a:r>
          </a:p>
        </p:txBody>
      </p:sp>
      <p:sp>
        <p:nvSpPr>
          <p:cNvPr id="293" name="Ellipse 292">
            <a:extLst>
              <a:ext uri="{FF2B5EF4-FFF2-40B4-BE49-F238E27FC236}">
                <a16:creationId xmlns:a16="http://schemas.microsoft.com/office/drawing/2014/main" id="{98300BF6-99FE-4A67-84FA-E05EFC5BFDC1}"/>
              </a:ext>
            </a:extLst>
          </p:cNvPr>
          <p:cNvSpPr/>
          <p:nvPr/>
        </p:nvSpPr>
        <p:spPr>
          <a:xfrm>
            <a:off x="9218487" y="22576951"/>
            <a:ext cx="1185863" cy="1190625"/>
          </a:xfrm>
          <a:prstGeom prst="ellipse">
            <a:avLst/>
          </a:prstGeom>
          <a:solidFill>
            <a:schemeClr val="bg1"/>
          </a:solidFill>
          <a:ln w="152400">
            <a:solidFill>
              <a:srgbClr val="FAB9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168538" rIns="0" bIns="168538" anchor="ctr"/>
          <a:lstStyle/>
          <a:p>
            <a:pPr algn="ctr" defTabSz="417643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000" b="1" dirty="0">
                <a:solidFill>
                  <a:srgbClr val="FFC000"/>
                </a:solidFill>
                <a:latin typeface="Michelin SemiBold"/>
              </a:rPr>
              <a:t>UX</a:t>
            </a:r>
          </a:p>
        </p:txBody>
      </p:sp>
      <p:sp>
        <p:nvSpPr>
          <p:cNvPr id="297" name="ZoneTexte 296">
            <a:extLst>
              <a:ext uri="{FF2B5EF4-FFF2-40B4-BE49-F238E27FC236}">
                <a16:creationId xmlns:a16="http://schemas.microsoft.com/office/drawing/2014/main" id="{DCF353FD-1993-4D0A-9619-D7CEFDF08222}"/>
              </a:ext>
            </a:extLst>
          </p:cNvPr>
          <p:cNvSpPr txBox="1"/>
          <p:nvPr/>
        </p:nvSpPr>
        <p:spPr>
          <a:xfrm>
            <a:off x="10729787" y="17731901"/>
            <a:ext cx="5318125" cy="130016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 defTabSz="4280752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4800" b="1" kern="0" dirty="0">
                <a:solidFill>
                  <a:srgbClr val="44546A"/>
                </a:solidFill>
                <a:latin typeface="Calibri"/>
              </a:rPr>
              <a:t>END USER</a:t>
            </a:r>
          </a:p>
          <a:p>
            <a:pPr algn="ctr" defTabSz="4280752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4800" b="1" kern="0" dirty="0">
                <a:solidFill>
                  <a:srgbClr val="44546A"/>
                </a:solidFill>
                <a:latin typeface="Calibri"/>
              </a:rPr>
              <a:t> PROBLEM SOLVING</a:t>
            </a:r>
          </a:p>
        </p:txBody>
      </p:sp>
      <p:sp>
        <p:nvSpPr>
          <p:cNvPr id="301" name="ZoneTexte 300">
            <a:extLst>
              <a:ext uri="{FF2B5EF4-FFF2-40B4-BE49-F238E27FC236}">
                <a16:creationId xmlns:a16="http://schemas.microsoft.com/office/drawing/2014/main" id="{B0B4D40F-A895-45F4-8A43-B49843AAE799}"/>
              </a:ext>
            </a:extLst>
          </p:cNvPr>
          <p:cNvSpPr txBox="1"/>
          <p:nvPr/>
        </p:nvSpPr>
        <p:spPr>
          <a:xfrm>
            <a:off x="7378575" y="3392013"/>
            <a:ext cx="7489825" cy="70326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defTabSz="4280752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4800" b="1" kern="0" dirty="0">
                <a:solidFill>
                  <a:srgbClr val="44546A"/>
                </a:solidFill>
                <a:latin typeface="Calibri"/>
              </a:rPr>
              <a:t>PRODUCT VISION</a:t>
            </a:r>
          </a:p>
        </p:txBody>
      </p:sp>
      <p:sp>
        <p:nvSpPr>
          <p:cNvPr id="302" name="Rectangle 301">
            <a:extLst>
              <a:ext uri="{FF2B5EF4-FFF2-40B4-BE49-F238E27FC236}">
                <a16:creationId xmlns:a16="http://schemas.microsoft.com/office/drawing/2014/main" id="{0306239A-BB29-4377-BE92-AAAA33E8D917}"/>
              </a:ext>
            </a:extLst>
          </p:cNvPr>
          <p:cNvSpPr/>
          <p:nvPr/>
        </p:nvSpPr>
        <p:spPr>
          <a:xfrm>
            <a:off x="6995987" y="3971451"/>
            <a:ext cx="8027988" cy="207191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defTabSz="4280752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3200" kern="0" dirty="0">
                <a:solidFill>
                  <a:srgbClr val="44546A"/>
                </a:solidFill>
                <a:latin typeface="Calibri"/>
              </a:rPr>
              <a:t>VALUE CHAIN</a:t>
            </a:r>
          </a:p>
          <a:p>
            <a:pPr algn="ctr" defTabSz="4280752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3200" kern="0" dirty="0">
                <a:solidFill>
                  <a:srgbClr val="44546A"/>
                </a:solidFill>
                <a:latin typeface="+mn-lt"/>
              </a:rPr>
              <a:t>OPERATING MODEL</a:t>
            </a:r>
          </a:p>
          <a:p>
            <a:pPr algn="ctr" defTabSz="4280752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3200" kern="0" dirty="0">
                <a:solidFill>
                  <a:srgbClr val="44546A"/>
                </a:solidFill>
                <a:latin typeface="Calibri"/>
              </a:rPr>
              <a:t>PROCESS IMPROVEMENTS</a:t>
            </a:r>
          </a:p>
          <a:p>
            <a:pPr algn="ctr" defTabSz="4280752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3200" kern="0" dirty="0">
                <a:solidFill>
                  <a:srgbClr val="44546A"/>
                </a:solidFill>
                <a:latin typeface="Calibri"/>
              </a:rPr>
              <a:t>FUNCTIONAL ROADMAP</a:t>
            </a:r>
          </a:p>
          <a:p>
            <a:pPr algn="ctr" defTabSz="4280752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3200" kern="0" dirty="0">
                <a:solidFill>
                  <a:srgbClr val="44546A"/>
                </a:solidFill>
                <a:latin typeface="Calibri"/>
              </a:rPr>
              <a:t>PRODUCT VALUE PROPOSITION</a:t>
            </a:r>
          </a:p>
        </p:txBody>
      </p:sp>
      <p:sp>
        <p:nvSpPr>
          <p:cNvPr id="309" name="Ellipse 308">
            <a:extLst>
              <a:ext uri="{FF2B5EF4-FFF2-40B4-BE49-F238E27FC236}">
                <a16:creationId xmlns:a16="http://schemas.microsoft.com/office/drawing/2014/main" id="{8C50350B-2D28-4662-90EF-A12A8A508A4A}"/>
              </a:ext>
            </a:extLst>
          </p:cNvPr>
          <p:cNvSpPr/>
          <p:nvPr/>
        </p:nvSpPr>
        <p:spPr>
          <a:xfrm>
            <a:off x="15422437" y="23475476"/>
            <a:ext cx="2541588" cy="2551112"/>
          </a:xfrm>
          <a:prstGeom prst="ellipse">
            <a:avLst/>
          </a:prstGeom>
          <a:solidFill>
            <a:schemeClr val="bg1"/>
          </a:solidFill>
          <a:ln w="2540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68538" tIns="168538" rIns="168538" bIns="168538" anchor="ctr"/>
          <a:lstStyle/>
          <a:p>
            <a:pPr algn="ctr" defTabSz="428075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400" b="1" dirty="0">
                <a:solidFill>
                  <a:srgbClr val="FFC000"/>
                </a:solidFill>
                <a:latin typeface="Michelin SemiBold"/>
              </a:rPr>
              <a:t>DELIVERY</a:t>
            </a:r>
          </a:p>
          <a:p>
            <a:pPr algn="ctr" defTabSz="428075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400" b="1" dirty="0">
                <a:solidFill>
                  <a:srgbClr val="FFC000"/>
                </a:solidFill>
                <a:latin typeface="Michelin SemiBold"/>
              </a:rPr>
              <a:t>SQUAD</a:t>
            </a:r>
          </a:p>
        </p:txBody>
      </p:sp>
      <p:sp>
        <p:nvSpPr>
          <p:cNvPr id="310" name="Ellipse 309">
            <a:extLst>
              <a:ext uri="{FF2B5EF4-FFF2-40B4-BE49-F238E27FC236}">
                <a16:creationId xmlns:a16="http://schemas.microsoft.com/office/drawing/2014/main" id="{62188AB5-8A3E-4CB9-AB2F-6BDCEC897225}"/>
              </a:ext>
            </a:extLst>
          </p:cNvPr>
          <p:cNvSpPr/>
          <p:nvPr/>
        </p:nvSpPr>
        <p:spPr>
          <a:xfrm>
            <a:off x="14847762" y="22515038"/>
            <a:ext cx="1693863" cy="1701800"/>
          </a:xfrm>
          <a:prstGeom prst="ellipse">
            <a:avLst/>
          </a:prstGeom>
          <a:solidFill>
            <a:schemeClr val="bg1"/>
          </a:solidFill>
          <a:ln w="152400">
            <a:solidFill>
              <a:srgbClr val="FAB9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168538" rIns="0" bIns="168538" anchor="ctr"/>
          <a:lstStyle/>
          <a:p>
            <a:pPr algn="ctr" defTabSz="417643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000" b="1" dirty="0">
                <a:solidFill>
                  <a:srgbClr val="FFC000"/>
                </a:solidFill>
                <a:latin typeface="Michelin SemiBold"/>
              </a:rPr>
              <a:t>TEAM</a:t>
            </a:r>
          </a:p>
          <a:p>
            <a:pPr algn="ctr" defTabSz="417643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000" b="1" dirty="0">
                <a:solidFill>
                  <a:srgbClr val="FFC000"/>
                </a:solidFill>
                <a:latin typeface="Michelin SemiBold"/>
              </a:rPr>
              <a:t>LEADER</a:t>
            </a:r>
          </a:p>
        </p:txBody>
      </p:sp>
      <p:sp>
        <p:nvSpPr>
          <p:cNvPr id="311" name="Ellipse 310">
            <a:extLst>
              <a:ext uri="{FF2B5EF4-FFF2-40B4-BE49-F238E27FC236}">
                <a16:creationId xmlns:a16="http://schemas.microsoft.com/office/drawing/2014/main" id="{128300B7-38FA-4395-A339-C6674553DEAE}"/>
              </a:ext>
            </a:extLst>
          </p:cNvPr>
          <p:cNvSpPr/>
          <p:nvPr/>
        </p:nvSpPr>
        <p:spPr>
          <a:xfrm>
            <a:off x="17581437" y="24683563"/>
            <a:ext cx="1693863" cy="1700213"/>
          </a:xfrm>
          <a:prstGeom prst="ellipse">
            <a:avLst/>
          </a:prstGeom>
          <a:solidFill>
            <a:schemeClr val="bg1"/>
          </a:solidFill>
          <a:ln w="152400">
            <a:solidFill>
              <a:srgbClr val="FAB9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168538" rIns="0" bIns="168538" anchor="ctr"/>
          <a:lstStyle/>
          <a:p>
            <a:pPr algn="ctr" defTabSz="417643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000" b="1" dirty="0">
                <a:solidFill>
                  <a:srgbClr val="FFC000"/>
                </a:solidFill>
                <a:latin typeface="Michelin SemiBold"/>
              </a:rPr>
              <a:t>TECH</a:t>
            </a:r>
          </a:p>
          <a:p>
            <a:pPr algn="ctr" defTabSz="417643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000" b="1" dirty="0">
                <a:solidFill>
                  <a:srgbClr val="FFC000"/>
                </a:solidFill>
                <a:latin typeface="Michelin SemiBold"/>
              </a:rPr>
              <a:t>LEAD</a:t>
            </a:r>
          </a:p>
        </p:txBody>
      </p:sp>
      <p:sp>
        <p:nvSpPr>
          <p:cNvPr id="312" name="Ellipse 311">
            <a:extLst>
              <a:ext uri="{FF2B5EF4-FFF2-40B4-BE49-F238E27FC236}">
                <a16:creationId xmlns:a16="http://schemas.microsoft.com/office/drawing/2014/main" id="{F0251AD9-E515-4142-B7AC-039259B33970}"/>
              </a:ext>
            </a:extLst>
          </p:cNvPr>
          <p:cNvSpPr/>
          <p:nvPr/>
        </p:nvSpPr>
        <p:spPr>
          <a:xfrm>
            <a:off x="14263562" y="24751826"/>
            <a:ext cx="1693863" cy="1700212"/>
          </a:xfrm>
          <a:prstGeom prst="ellipse">
            <a:avLst/>
          </a:prstGeom>
          <a:solidFill>
            <a:schemeClr val="bg1"/>
          </a:solidFill>
          <a:ln w="152400">
            <a:solidFill>
              <a:srgbClr val="FAB9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168538" rIns="0" bIns="168538" anchor="ctr"/>
          <a:lstStyle/>
          <a:p>
            <a:pPr algn="ctr" defTabSz="417643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000" b="1" dirty="0">
                <a:solidFill>
                  <a:srgbClr val="FFC000"/>
                </a:solidFill>
                <a:latin typeface="Michelin SemiBold"/>
              </a:rPr>
              <a:t>DEV.</a:t>
            </a:r>
          </a:p>
        </p:txBody>
      </p:sp>
      <p:sp>
        <p:nvSpPr>
          <p:cNvPr id="313" name="Ellipse 312">
            <a:extLst>
              <a:ext uri="{FF2B5EF4-FFF2-40B4-BE49-F238E27FC236}">
                <a16:creationId xmlns:a16="http://schemas.microsoft.com/office/drawing/2014/main" id="{03F72F38-2022-4BE2-9B5D-14A271C0B34F}"/>
              </a:ext>
            </a:extLst>
          </p:cNvPr>
          <p:cNvSpPr/>
          <p:nvPr/>
        </p:nvSpPr>
        <p:spPr>
          <a:xfrm>
            <a:off x="17095662" y="22853176"/>
            <a:ext cx="1185863" cy="1189037"/>
          </a:xfrm>
          <a:prstGeom prst="ellipse">
            <a:avLst/>
          </a:prstGeom>
          <a:solidFill>
            <a:schemeClr val="bg1"/>
          </a:solidFill>
          <a:ln w="152400">
            <a:solidFill>
              <a:srgbClr val="FAB9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168538" rIns="0" bIns="168538" anchor="ctr"/>
          <a:lstStyle/>
          <a:p>
            <a:pPr algn="ctr" defTabSz="417643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000" b="1" dirty="0">
                <a:solidFill>
                  <a:srgbClr val="FFC000"/>
                </a:solidFill>
                <a:latin typeface="Michelin SemiBold"/>
              </a:rPr>
              <a:t>UX</a:t>
            </a:r>
          </a:p>
        </p:txBody>
      </p:sp>
      <p:sp>
        <p:nvSpPr>
          <p:cNvPr id="314" name="Ellipse 313">
            <a:extLst>
              <a:ext uri="{FF2B5EF4-FFF2-40B4-BE49-F238E27FC236}">
                <a16:creationId xmlns:a16="http://schemas.microsoft.com/office/drawing/2014/main" id="{0A89DD11-8064-4D39-8739-383EAFD5DBCD}"/>
              </a:ext>
            </a:extLst>
          </p:cNvPr>
          <p:cNvSpPr/>
          <p:nvPr/>
        </p:nvSpPr>
        <p:spPr>
          <a:xfrm>
            <a:off x="24307675" y="23543738"/>
            <a:ext cx="2540000" cy="2551113"/>
          </a:xfrm>
          <a:prstGeom prst="ellipse">
            <a:avLst/>
          </a:prstGeom>
          <a:solidFill>
            <a:schemeClr val="bg1"/>
          </a:solidFill>
          <a:ln w="2540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68538" tIns="168538" rIns="168538" bIns="168538" anchor="ctr"/>
          <a:lstStyle/>
          <a:p>
            <a:pPr algn="ctr" defTabSz="4280752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fr-FR" sz="2400" b="1" dirty="0">
                <a:solidFill>
                  <a:srgbClr val="FFC000"/>
                </a:solidFill>
                <a:latin typeface="Michelin SemiBold"/>
              </a:rPr>
              <a:t>DELIVERY</a:t>
            </a:r>
          </a:p>
          <a:p>
            <a:pPr algn="ctr" defTabSz="4280752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fr-FR" sz="2400" b="1" dirty="0">
                <a:solidFill>
                  <a:srgbClr val="FFC000"/>
                </a:solidFill>
                <a:latin typeface="Michelin SemiBold"/>
              </a:rPr>
              <a:t>SQUAD</a:t>
            </a:r>
          </a:p>
        </p:txBody>
      </p:sp>
      <p:sp>
        <p:nvSpPr>
          <p:cNvPr id="315" name="Ellipse 314">
            <a:extLst>
              <a:ext uri="{FF2B5EF4-FFF2-40B4-BE49-F238E27FC236}">
                <a16:creationId xmlns:a16="http://schemas.microsoft.com/office/drawing/2014/main" id="{777765A7-E458-4885-A90E-7DE364125E69}"/>
              </a:ext>
            </a:extLst>
          </p:cNvPr>
          <p:cNvSpPr/>
          <p:nvPr/>
        </p:nvSpPr>
        <p:spPr>
          <a:xfrm>
            <a:off x="23733000" y="22583301"/>
            <a:ext cx="1693862" cy="1700212"/>
          </a:xfrm>
          <a:prstGeom prst="ellipse">
            <a:avLst/>
          </a:prstGeom>
          <a:solidFill>
            <a:schemeClr val="bg1"/>
          </a:solidFill>
          <a:ln w="152400">
            <a:solidFill>
              <a:srgbClr val="FAB9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168538" rIns="0" bIns="168538" anchor="ctr"/>
          <a:lstStyle/>
          <a:p>
            <a:pPr algn="ctr" defTabSz="417643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000" b="1" dirty="0">
                <a:solidFill>
                  <a:srgbClr val="FFC000"/>
                </a:solidFill>
                <a:latin typeface="Michelin SemiBold"/>
              </a:rPr>
              <a:t>TEAM</a:t>
            </a:r>
          </a:p>
          <a:p>
            <a:pPr algn="ctr" defTabSz="417643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000" b="1" dirty="0">
                <a:solidFill>
                  <a:srgbClr val="FFC000"/>
                </a:solidFill>
                <a:latin typeface="Michelin SemiBold"/>
              </a:rPr>
              <a:t>LEADER</a:t>
            </a:r>
          </a:p>
        </p:txBody>
      </p:sp>
      <p:sp>
        <p:nvSpPr>
          <p:cNvPr id="316" name="Ellipse 315">
            <a:extLst>
              <a:ext uri="{FF2B5EF4-FFF2-40B4-BE49-F238E27FC236}">
                <a16:creationId xmlns:a16="http://schemas.microsoft.com/office/drawing/2014/main" id="{022123FD-AA24-4AF6-8E97-47A44CF5A15E}"/>
              </a:ext>
            </a:extLst>
          </p:cNvPr>
          <p:cNvSpPr/>
          <p:nvPr/>
        </p:nvSpPr>
        <p:spPr>
          <a:xfrm>
            <a:off x="26466675" y="24751826"/>
            <a:ext cx="1693862" cy="1700212"/>
          </a:xfrm>
          <a:prstGeom prst="ellipse">
            <a:avLst/>
          </a:prstGeom>
          <a:solidFill>
            <a:schemeClr val="bg1"/>
          </a:solidFill>
          <a:ln w="152400">
            <a:solidFill>
              <a:srgbClr val="FAB9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168538" rIns="0" bIns="168538" anchor="ctr"/>
          <a:lstStyle/>
          <a:p>
            <a:pPr algn="ctr" defTabSz="417643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000" b="1" dirty="0">
                <a:solidFill>
                  <a:srgbClr val="FFC000"/>
                </a:solidFill>
                <a:latin typeface="Michelin SemiBold"/>
              </a:rPr>
              <a:t>TECH</a:t>
            </a:r>
          </a:p>
          <a:p>
            <a:pPr algn="ctr" defTabSz="417643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000" b="1" dirty="0">
                <a:solidFill>
                  <a:srgbClr val="FFC000"/>
                </a:solidFill>
                <a:latin typeface="Michelin SemiBold"/>
              </a:rPr>
              <a:t>LEAD</a:t>
            </a:r>
          </a:p>
        </p:txBody>
      </p:sp>
      <p:sp>
        <p:nvSpPr>
          <p:cNvPr id="317" name="Ellipse 316">
            <a:extLst>
              <a:ext uri="{FF2B5EF4-FFF2-40B4-BE49-F238E27FC236}">
                <a16:creationId xmlns:a16="http://schemas.microsoft.com/office/drawing/2014/main" id="{AA297660-73D2-48B5-A85D-99B28688EB3A}"/>
              </a:ext>
            </a:extLst>
          </p:cNvPr>
          <p:cNvSpPr/>
          <p:nvPr/>
        </p:nvSpPr>
        <p:spPr>
          <a:xfrm>
            <a:off x="23147212" y="24820088"/>
            <a:ext cx="1693863" cy="1700213"/>
          </a:xfrm>
          <a:prstGeom prst="ellipse">
            <a:avLst/>
          </a:prstGeom>
          <a:solidFill>
            <a:schemeClr val="bg1"/>
          </a:solidFill>
          <a:ln w="152400">
            <a:solidFill>
              <a:srgbClr val="FAB9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168538" rIns="0" bIns="168538" anchor="ctr"/>
          <a:lstStyle/>
          <a:p>
            <a:pPr algn="ctr" defTabSz="417643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000" b="1" dirty="0">
                <a:solidFill>
                  <a:srgbClr val="FFC000"/>
                </a:solidFill>
                <a:latin typeface="Michelin SemiBold"/>
              </a:rPr>
              <a:t>DEV.</a:t>
            </a:r>
          </a:p>
        </p:txBody>
      </p:sp>
      <p:sp>
        <p:nvSpPr>
          <p:cNvPr id="318" name="Ellipse 317">
            <a:extLst>
              <a:ext uri="{FF2B5EF4-FFF2-40B4-BE49-F238E27FC236}">
                <a16:creationId xmlns:a16="http://schemas.microsoft.com/office/drawing/2014/main" id="{1D70E3FE-0845-43B6-8AB6-14EF4357B5E3}"/>
              </a:ext>
            </a:extLst>
          </p:cNvPr>
          <p:cNvSpPr/>
          <p:nvPr/>
        </p:nvSpPr>
        <p:spPr>
          <a:xfrm>
            <a:off x="25980900" y="22919851"/>
            <a:ext cx="1184275" cy="1190625"/>
          </a:xfrm>
          <a:prstGeom prst="ellipse">
            <a:avLst/>
          </a:prstGeom>
          <a:solidFill>
            <a:schemeClr val="bg1"/>
          </a:solidFill>
          <a:ln w="152400">
            <a:solidFill>
              <a:srgbClr val="FAB9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168538" rIns="0" bIns="168538" anchor="ctr"/>
          <a:lstStyle/>
          <a:p>
            <a:pPr algn="ctr" defTabSz="417643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000" b="1" dirty="0">
                <a:solidFill>
                  <a:srgbClr val="FFC000"/>
                </a:solidFill>
                <a:latin typeface="Michelin SemiBold"/>
              </a:rPr>
              <a:t>UX</a:t>
            </a:r>
          </a:p>
        </p:txBody>
      </p:sp>
      <p:sp>
        <p:nvSpPr>
          <p:cNvPr id="322" name="ZoneTexte 321">
            <a:extLst>
              <a:ext uri="{FF2B5EF4-FFF2-40B4-BE49-F238E27FC236}">
                <a16:creationId xmlns:a16="http://schemas.microsoft.com/office/drawing/2014/main" id="{52436EAF-F85D-4CF2-9E80-5D1E88F00FE3}"/>
              </a:ext>
            </a:extLst>
          </p:cNvPr>
          <p:cNvSpPr txBox="1"/>
          <p:nvPr/>
        </p:nvSpPr>
        <p:spPr>
          <a:xfrm>
            <a:off x="12732670" y="6971597"/>
            <a:ext cx="6345238" cy="69691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 defTabSz="4280752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4800" b="1" kern="0" dirty="0">
                <a:solidFill>
                  <a:srgbClr val="44546A"/>
                </a:solidFill>
                <a:latin typeface="Calibri"/>
              </a:rPr>
              <a:t>ARCHITECTURE STUDIES</a:t>
            </a:r>
          </a:p>
        </p:txBody>
      </p:sp>
      <p:sp>
        <p:nvSpPr>
          <p:cNvPr id="323" name="Rectangle 322">
            <a:extLst>
              <a:ext uri="{FF2B5EF4-FFF2-40B4-BE49-F238E27FC236}">
                <a16:creationId xmlns:a16="http://schemas.microsoft.com/office/drawing/2014/main" id="{D11AC1BF-2D38-44A3-8400-BD429095FD76}"/>
              </a:ext>
            </a:extLst>
          </p:cNvPr>
          <p:cNvSpPr/>
          <p:nvPr/>
        </p:nvSpPr>
        <p:spPr>
          <a:xfrm>
            <a:off x="11888120" y="7522459"/>
            <a:ext cx="7853363" cy="1284006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defTabSz="4280752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3200" kern="0" dirty="0">
                <a:solidFill>
                  <a:srgbClr val="44546A"/>
                </a:solidFill>
                <a:latin typeface="Calibri"/>
              </a:rPr>
              <a:t>DIAGNOSIS</a:t>
            </a:r>
          </a:p>
          <a:p>
            <a:pPr algn="ctr" defTabSz="4280752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3200" kern="0" dirty="0">
                <a:solidFill>
                  <a:srgbClr val="44546A"/>
                </a:solidFill>
                <a:latin typeface="Calibri"/>
              </a:rPr>
              <a:t>WHAT IF SCENARIO</a:t>
            </a:r>
          </a:p>
          <a:p>
            <a:pPr algn="ctr" defTabSz="4280752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3200" kern="0" dirty="0">
                <a:solidFill>
                  <a:srgbClr val="44546A"/>
                </a:solidFill>
                <a:latin typeface="Calibri"/>
              </a:rPr>
              <a:t>IS PROJECTION &amp; PLANNING</a:t>
            </a:r>
          </a:p>
        </p:txBody>
      </p:sp>
      <p:sp>
        <p:nvSpPr>
          <p:cNvPr id="328" name="ZoneTexte 327">
            <a:extLst>
              <a:ext uri="{FF2B5EF4-FFF2-40B4-BE49-F238E27FC236}">
                <a16:creationId xmlns:a16="http://schemas.microsoft.com/office/drawing/2014/main" id="{41750166-F6AE-4891-BD35-66C50641F268}"/>
              </a:ext>
            </a:extLst>
          </p:cNvPr>
          <p:cNvSpPr txBox="1"/>
          <p:nvPr/>
        </p:nvSpPr>
        <p:spPr>
          <a:xfrm>
            <a:off x="25171697" y="6322014"/>
            <a:ext cx="5975350" cy="704850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pPr algn="ctr" defTabSz="4280752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4800" b="1" kern="0" dirty="0">
                <a:solidFill>
                  <a:srgbClr val="44546A"/>
                </a:solidFill>
                <a:latin typeface="Calibri"/>
              </a:rPr>
              <a:t>SYSTEM ENGINEERING</a:t>
            </a:r>
          </a:p>
        </p:txBody>
      </p:sp>
      <p:sp>
        <p:nvSpPr>
          <p:cNvPr id="332" name="Rectangle 331">
            <a:extLst>
              <a:ext uri="{FF2B5EF4-FFF2-40B4-BE49-F238E27FC236}">
                <a16:creationId xmlns:a16="http://schemas.microsoft.com/office/drawing/2014/main" id="{9E65C8E4-BAFF-4925-8EDD-6F03BF0E092D}"/>
              </a:ext>
            </a:extLst>
          </p:cNvPr>
          <p:cNvSpPr/>
          <p:nvPr/>
        </p:nvSpPr>
        <p:spPr>
          <a:xfrm>
            <a:off x="24306510" y="6899864"/>
            <a:ext cx="7439025" cy="167796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defTabSz="4280752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3200" kern="0" dirty="0">
                <a:solidFill>
                  <a:srgbClr val="44546A"/>
                </a:solidFill>
                <a:latin typeface="+mn-lt"/>
              </a:rPr>
              <a:t>INTEGRATION STRATEGY</a:t>
            </a:r>
          </a:p>
          <a:p>
            <a:pPr algn="ctr" defTabSz="4280752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3200" kern="0" dirty="0">
                <a:solidFill>
                  <a:srgbClr val="44546A"/>
                </a:solidFill>
                <a:latin typeface="+mn-lt"/>
              </a:rPr>
              <a:t>FUNCTIONAL CONTRACT</a:t>
            </a:r>
          </a:p>
          <a:p>
            <a:pPr algn="ctr" defTabSz="4280752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3200" kern="0" dirty="0">
                <a:solidFill>
                  <a:srgbClr val="44546A"/>
                </a:solidFill>
                <a:latin typeface="+mn-lt"/>
              </a:rPr>
              <a:t>FUNCTIONAL DEPENDENCY MIGRATION STRATEGY</a:t>
            </a:r>
          </a:p>
        </p:txBody>
      </p:sp>
      <p:sp>
        <p:nvSpPr>
          <p:cNvPr id="410" name="Rectangle 409">
            <a:extLst>
              <a:ext uri="{FF2B5EF4-FFF2-40B4-BE49-F238E27FC236}">
                <a16:creationId xmlns:a16="http://schemas.microsoft.com/office/drawing/2014/main" id="{E9939642-38A4-4B28-AD91-96E54FF081DA}"/>
              </a:ext>
            </a:extLst>
          </p:cNvPr>
          <p:cNvSpPr/>
          <p:nvPr/>
        </p:nvSpPr>
        <p:spPr>
          <a:xfrm>
            <a:off x="34122933" y="1941340"/>
            <a:ext cx="5688012" cy="1322387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defTabSz="417643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4000" b="1" dirty="0">
                <a:solidFill>
                  <a:schemeClr val="accent3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Architecture</a:t>
            </a:r>
          </a:p>
          <a:p>
            <a:pPr algn="ctr" defTabSz="417643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4000" b="1" dirty="0">
                <a:solidFill>
                  <a:schemeClr val="accent3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Community</a:t>
            </a:r>
          </a:p>
        </p:txBody>
      </p:sp>
      <p:sp>
        <p:nvSpPr>
          <p:cNvPr id="419" name="Rectangle 418">
            <a:extLst>
              <a:ext uri="{FF2B5EF4-FFF2-40B4-BE49-F238E27FC236}">
                <a16:creationId xmlns:a16="http://schemas.microsoft.com/office/drawing/2014/main" id="{1F64A480-355A-42B7-97F9-C02E7602583B}"/>
              </a:ext>
            </a:extLst>
          </p:cNvPr>
          <p:cNvSpPr/>
          <p:nvPr/>
        </p:nvSpPr>
        <p:spPr>
          <a:xfrm>
            <a:off x="9567737" y="18908238"/>
            <a:ext cx="8027988" cy="167796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defTabSz="4280752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3200" kern="0" dirty="0">
                <a:solidFill>
                  <a:srgbClr val="44546A"/>
                </a:solidFill>
                <a:latin typeface="+mn-lt"/>
              </a:rPr>
              <a:t>KNOW YOUR CUSTOMER</a:t>
            </a:r>
          </a:p>
          <a:p>
            <a:pPr algn="ctr" defTabSz="4280752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3200" kern="0" dirty="0">
                <a:solidFill>
                  <a:srgbClr val="44546A"/>
                </a:solidFill>
                <a:latin typeface="+mn-lt"/>
              </a:rPr>
              <a:t>USER EXPERIENCE</a:t>
            </a:r>
          </a:p>
          <a:p>
            <a:pPr algn="ctr" defTabSz="4280752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3200" kern="0" dirty="0">
                <a:solidFill>
                  <a:srgbClr val="44546A"/>
                </a:solidFill>
                <a:latin typeface="Calibri"/>
              </a:rPr>
              <a:t>PAIN POINT IDENTIFICATION</a:t>
            </a:r>
          </a:p>
          <a:p>
            <a:pPr algn="ctr" defTabSz="4280752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3200" kern="0" dirty="0">
                <a:solidFill>
                  <a:srgbClr val="44546A"/>
                </a:solidFill>
                <a:latin typeface="+mn-lt"/>
              </a:rPr>
              <a:t>FUNCTIONAL STUDIES</a:t>
            </a:r>
          </a:p>
        </p:txBody>
      </p:sp>
      <p:grpSp>
        <p:nvGrpSpPr>
          <p:cNvPr id="6202" name="Groupe 420">
            <a:extLst>
              <a:ext uri="{FF2B5EF4-FFF2-40B4-BE49-F238E27FC236}">
                <a16:creationId xmlns:a16="http://schemas.microsoft.com/office/drawing/2014/main" id="{424366A6-3136-4774-9A8A-81F3F287F1A6}"/>
              </a:ext>
            </a:extLst>
          </p:cNvPr>
          <p:cNvGrpSpPr>
            <a:grpSpLocks/>
          </p:cNvGrpSpPr>
          <p:nvPr/>
        </p:nvGrpSpPr>
        <p:grpSpPr bwMode="auto">
          <a:xfrm>
            <a:off x="5337656" y="2860201"/>
            <a:ext cx="2393344" cy="2352675"/>
            <a:chOff x="2335614" y="3820290"/>
            <a:chExt cx="653239" cy="560864"/>
          </a:xfrm>
        </p:grpSpPr>
        <p:sp>
          <p:nvSpPr>
            <p:cNvPr id="422" name="Ellipse 421">
              <a:extLst>
                <a:ext uri="{FF2B5EF4-FFF2-40B4-BE49-F238E27FC236}">
                  <a16:creationId xmlns:a16="http://schemas.microsoft.com/office/drawing/2014/main" id="{7393702A-3804-4155-8888-9FE08C5B8E66}"/>
                </a:ext>
              </a:extLst>
            </p:cNvPr>
            <p:cNvSpPr/>
            <p:nvPr/>
          </p:nvSpPr>
          <p:spPr bwMode="auto">
            <a:xfrm>
              <a:off x="2335614" y="3917291"/>
              <a:ext cx="653239" cy="463863"/>
            </a:xfrm>
            <a:prstGeom prst="ellipse">
              <a:avLst/>
            </a:prstGeom>
            <a:solidFill>
              <a:schemeClr val="accent4"/>
            </a:solidFill>
            <a:ln w="76200">
              <a:noFill/>
              <a:round/>
              <a:headEnd/>
              <a:tailEnd/>
            </a:ln>
            <a:effectLst>
              <a:outerShdw blurRad="419100" dist="38100" dir="5400000" sx="107000" sy="107000" algn="t" rotWithShape="0">
                <a:prstClr val="black">
                  <a:alpha val="34000"/>
                </a:prstClr>
              </a:outerShdw>
            </a:effectLst>
            <a:scene3d>
              <a:camera prst="perspectiveRelaxedModerately">
                <a:rot lat="17390630" lon="0" rev="0"/>
              </a:camera>
              <a:lightRig rig="threePt" dir="t"/>
            </a:scene3d>
            <a:sp3d extrusionH="190500" prstMaterial="matte"/>
          </p:spPr>
          <p:txBody>
            <a:bodyPr lIns="0" tIns="0" rIns="0" bIns="0" anchor="ctr"/>
            <a:lstStyle/>
            <a:p>
              <a:pPr algn="ctr" defTabSz="4280855" eaLnBrk="1" fontAlgn="auto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7200" b="1" kern="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pic>
          <p:nvPicPr>
            <p:cNvPr id="423" name="_effect" descr="C:\Users\marc.h\Desktop\Schatten-TEST.png">
              <a:extLst>
                <a:ext uri="{FF2B5EF4-FFF2-40B4-BE49-F238E27FC236}">
                  <a16:creationId xmlns:a16="http://schemas.microsoft.com/office/drawing/2014/main" id="{5CF5C2B5-9B85-49C6-B5D2-6A31E4B6857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 flipH="1">
              <a:off x="2441647" y="4131755"/>
              <a:ext cx="441173" cy="66229"/>
            </a:xfrm>
            <a:prstGeom prst="rect">
              <a:avLst/>
            </a:prstGeom>
            <a:noFill/>
            <a:ln>
              <a:noFill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</p:pic>
        <p:grpSp>
          <p:nvGrpSpPr>
            <p:cNvPr id="424" name="Gruppieren 96">
              <a:extLst>
                <a:ext uri="{FF2B5EF4-FFF2-40B4-BE49-F238E27FC236}">
                  <a16:creationId xmlns:a16="http://schemas.microsoft.com/office/drawing/2014/main" id="{5427FB28-D9AF-49C3-BC26-AA9E84186ED5}"/>
                </a:ext>
              </a:extLst>
            </p:cNvPr>
            <p:cNvGrpSpPr/>
            <p:nvPr/>
          </p:nvGrpSpPr>
          <p:grpSpPr>
            <a:xfrm>
              <a:off x="2435114" y="3833767"/>
              <a:ext cx="159492" cy="328959"/>
              <a:chOff x="2519371" y="955678"/>
              <a:chExt cx="1695457" cy="4968890"/>
            </a:xfrm>
            <a:solidFill>
              <a:schemeClr val="tx1"/>
            </a:solidFill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grpSpPr>
          <p:sp>
            <p:nvSpPr>
              <p:cNvPr id="463" name="Freeform 156">
                <a:extLst>
                  <a:ext uri="{FF2B5EF4-FFF2-40B4-BE49-F238E27FC236}">
                    <a16:creationId xmlns:a16="http://schemas.microsoft.com/office/drawing/2014/main" id="{06EB7626-E994-41AA-94DA-354017EC47C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84626" y="3435360"/>
                <a:ext cx="269878" cy="404813"/>
              </a:xfrm>
              <a:custGeom>
                <a:avLst/>
                <a:gdLst>
                  <a:gd name="T0" fmla="*/ 29 w 72"/>
                  <a:gd name="T1" fmla="*/ 0 h 108"/>
                  <a:gd name="T2" fmla="*/ 37 w 72"/>
                  <a:gd name="T3" fmla="*/ 0 h 108"/>
                  <a:gd name="T4" fmla="*/ 68 w 72"/>
                  <a:gd name="T5" fmla="*/ 6 h 108"/>
                  <a:gd name="T6" fmla="*/ 70 w 72"/>
                  <a:gd name="T7" fmla="*/ 58 h 108"/>
                  <a:gd name="T8" fmla="*/ 60 w 72"/>
                  <a:gd name="T9" fmla="*/ 78 h 108"/>
                  <a:gd name="T10" fmla="*/ 14 w 72"/>
                  <a:gd name="T11" fmla="*/ 108 h 108"/>
                  <a:gd name="T12" fmla="*/ 5 w 72"/>
                  <a:gd name="T13" fmla="*/ 102 h 108"/>
                  <a:gd name="T14" fmla="*/ 13 w 72"/>
                  <a:gd name="T15" fmla="*/ 80 h 108"/>
                  <a:gd name="T16" fmla="*/ 15 w 72"/>
                  <a:gd name="T17" fmla="*/ 6 h 108"/>
                  <a:gd name="T18" fmla="*/ 29 w 72"/>
                  <a:gd name="T19" fmla="*/ 0 h 108"/>
                  <a:gd name="T20" fmla="*/ 28 w 72"/>
                  <a:gd name="T21" fmla="*/ 81 h 108"/>
                  <a:gd name="T22" fmla="*/ 41 w 72"/>
                  <a:gd name="T23" fmla="*/ 53 h 108"/>
                  <a:gd name="T24" fmla="*/ 33 w 72"/>
                  <a:gd name="T25" fmla="*/ 51 h 108"/>
                  <a:gd name="T26" fmla="*/ 28 w 72"/>
                  <a:gd name="T27" fmla="*/ 81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2" h="108">
                    <a:moveTo>
                      <a:pt x="29" y="0"/>
                    </a:moveTo>
                    <a:cubicBezTo>
                      <a:pt x="32" y="0"/>
                      <a:pt x="34" y="0"/>
                      <a:pt x="37" y="0"/>
                    </a:cubicBezTo>
                    <a:cubicBezTo>
                      <a:pt x="45" y="3"/>
                      <a:pt x="60" y="2"/>
                      <a:pt x="68" y="6"/>
                    </a:cubicBezTo>
                    <a:cubicBezTo>
                      <a:pt x="67" y="23"/>
                      <a:pt x="72" y="43"/>
                      <a:pt x="70" y="58"/>
                    </a:cubicBezTo>
                    <a:cubicBezTo>
                      <a:pt x="68" y="65"/>
                      <a:pt x="63" y="72"/>
                      <a:pt x="60" y="78"/>
                    </a:cubicBezTo>
                    <a:cubicBezTo>
                      <a:pt x="49" y="98"/>
                      <a:pt x="39" y="102"/>
                      <a:pt x="14" y="108"/>
                    </a:cubicBezTo>
                    <a:cubicBezTo>
                      <a:pt x="17" y="101"/>
                      <a:pt x="5" y="107"/>
                      <a:pt x="5" y="102"/>
                    </a:cubicBezTo>
                    <a:cubicBezTo>
                      <a:pt x="0" y="90"/>
                      <a:pt x="6" y="87"/>
                      <a:pt x="13" y="80"/>
                    </a:cubicBezTo>
                    <a:cubicBezTo>
                      <a:pt x="15" y="57"/>
                      <a:pt x="13" y="28"/>
                      <a:pt x="15" y="6"/>
                    </a:cubicBezTo>
                    <a:cubicBezTo>
                      <a:pt x="20" y="3"/>
                      <a:pt x="29" y="6"/>
                      <a:pt x="29" y="0"/>
                    </a:cubicBezTo>
                    <a:close/>
                    <a:moveTo>
                      <a:pt x="28" y="81"/>
                    </a:moveTo>
                    <a:cubicBezTo>
                      <a:pt x="41" y="81"/>
                      <a:pt x="43" y="67"/>
                      <a:pt x="41" y="53"/>
                    </a:cubicBezTo>
                    <a:cubicBezTo>
                      <a:pt x="37" y="54"/>
                      <a:pt x="37" y="51"/>
                      <a:pt x="33" y="51"/>
                    </a:cubicBezTo>
                    <a:cubicBezTo>
                      <a:pt x="30" y="61"/>
                      <a:pt x="32" y="75"/>
                      <a:pt x="28" y="8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64" name="Freeform 159">
                <a:extLst>
                  <a:ext uri="{FF2B5EF4-FFF2-40B4-BE49-F238E27FC236}">
                    <a16:creationId xmlns:a16="http://schemas.microsoft.com/office/drawing/2014/main" id="{8D1C0A47-8E56-4B09-A5D9-CEF004E8CB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9775" y="5519755"/>
                <a:ext cx="539752" cy="404813"/>
              </a:xfrm>
              <a:custGeom>
                <a:avLst/>
                <a:gdLst>
                  <a:gd name="T0" fmla="*/ 19 w 144"/>
                  <a:gd name="T1" fmla="*/ 0 h 108"/>
                  <a:gd name="T2" fmla="*/ 21 w 144"/>
                  <a:gd name="T3" fmla="*/ 0 h 108"/>
                  <a:gd name="T4" fmla="*/ 55 w 144"/>
                  <a:gd name="T5" fmla="*/ 19 h 108"/>
                  <a:gd name="T6" fmla="*/ 139 w 144"/>
                  <a:gd name="T7" fmla="*/ 47 h 108"/>
                  <a:gd name="T8" fmla="*/ 144 w 144"/>
                  <a:gd name="T9" fmla="*/ 62 h 108"/>
                  <a:gd name="T10" fmla="*/ 144 w 144"/>
                  <a:gd name="T11" fmla="*/ 66 h 108"/>
                  <a:gd name="T12" fmla="*/ 137 w 144"/>
                  <a:gd name="T13" fmla="*/ 88 h 108"/>
                  <a:gd name="T14" fmla="*/ 105 w 144"/>
                  <a:gd name="T15" fmla="*/ 91 h 108"/>
                  <a:gd name="T16" fmla="*/ 100 w 144"/>
                  <a:gd name="T17" fmla="*/ 103 h 108"/>
                  <a:gd name="T18" fmla="*/ 90 w 144"/>
                  <a:gd name="T19" fmla="*/ 108 h 108"/>
                  <a:gd name="T20" fmla="*/ 82 w 144"/>
                  <a:gd name="T21" fmla="*/ 108 h 108"/>
                  <a:gd name="T22" fmla="*/ 31 w 144"/>
                  <a:gd name="T23" fmla="*/ 100 h 108"/>
                  <a:gd name="T24" fmla="*/ 32 w 144"/>
                  <a:gd name="T25" fmla="*/ 73 h 108"/>
                  <a:gd name="T26" fmla="*/ 0 w 144"/>
                  <a:gd name="T27" fmla="*/ 65 h 108"/>
                  <a:gd name="T28" fmla="*/ 0 w 144"/>
                  <a:gd name="T29" fmla="*/ 51 h 108"/>
                  <a:gd name="T30" fmla="*/ 11 w 144"/>
                  <a:gd name="T31" fmla="*/ 12 h 108"/>
                  <a:gd name="T32" fmla="*/ 19 w 144"/>
                  <a:gd name="T33" fmla="*/ 0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4" h="108">
                    <a:moveTo>
                      <a:pt x="19" y="0"/>
                    </a:moveTo>
                    <a:cubicBezTo>
                      <a:pt x="19" y="0"/>
                      <a:pt x="20" y="0"/>
                      <a:pt x="21" y="0"/>
                    </a:cubicBezTo>
                    <a:cubicBezTo>
                      <a:pt x="33" y="7"/>
                      <a:pt x="45" y="13"/>
                      <a:pt x="55" y="19"/>
                    </a:cubicBezTo>
                    <a:cubicBezTo>
                      <a:pt x="92" y="2"/>
                      <a:pt x="120" y="31"/>
                      <a:pt x="139" y="47"/>
                    </a:cubicBezTo>
                    <a:cubicBezTo>
                      <a:pt x="141" y="52"/>
                      <a:pt x="141" y="58"/>
                      <a:pt x="144" y="62"/>
                    </a:cubicBezTo>
                    <a:cubicBezTo>
                      <a:pt x="144" y="63"/>
                      <a:pt x="144" y="65"/>
                      <a:pt x="144" y="66"/>
                    </a:cubicBezTo>
                    <a:cubicBezTo>
                      <a:pt x="142" y="75"/>
                      <a:pt x="141" y="83"/>
                      <a:pt x="137" y="88"/>
                    </a:cubicBezTo>
                    <a:cubicBezTo>
                      <a:pt x="124" y="87"/>
                      <a:pt x="117" y="91"/>
                      <a:pt x="105" y="91"/>
                    </a:cubicBezTo>
                    <a:cubicBezTo>
                      <a:pt x="99" y="91"/>
                      <a:pt x="104" y="101"/>
                      <a:pt x="100" y="103"/>
                    </a:cubicBezTo>
                    <a:cubicBezTo>
                      <a:pt x="96" y="105"/>
                      <a:pt x="91" y="106"/>
                      <a:pt x="90" y="108"/>
                    </a:cubicBezTo>
                    <a:cubicBezTo>
                      <a:pt x="87" y="108"/>
                      <a:pt x="84" y="108"/>
                      <a:pt x="82" y="108"/>
                    </a:cubicBezTo>
                    <a:cubicBezTo>
                      <a:pt x="66" y="105"/>
                      <a:pt x="41" y="108"/>
                      <a:pt x="31" y="100"/>
                    </a:cubicBezTo>
                    <a:cubicBezTo>
                      <a:pt x="27" y="90"/>
                      <a:pt x="33" y="85"/>
                      <a:pt x="32" y="73"/>
                    </a:cubicBezTo>
                    <a:cubicBezTo>
                      <a:pt x="23" y="75"/>
                      <a:pt x="8" y="71"/>
                      <a:pt x="0" y="65"/>
                    </a:cubicBezTo>
                    <a:cubicBezTo>
                      <a:pt x="0" y="61"/>
                      <a:pt x="0" y="56"/>
                      <a:pt x="0" y="51"/>
                    </a:cubicBezTo>
                    <a:cubicBezTo>
                      <a:pt x="6" y="39"/>
                      <a:pt x="14" y="27"/>
                      <a:pt x="11" y="12"/>
                    </a:cubicBezTo>
                    <a:cubicBezTo>
                      <a:pt x="11" y="7"/>
                      <a:pt x="18" y="6"/>
                      <a:pt x="19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65" name="Freeform 160">
                <a:extLst>
                  <a:ext uri="{FF2B5EF4-FFF2-40B4-BE49-F238E27FC236}">
                    <a16:creationId xmlns:a16="http://schemas.microsoft.com/office/drawing/2014/main" id="{3A13D152-0404-4D05-979E-C7F16AFAE1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014673"/>
                <a:ext cx="1109668" cy="2805120"/>
              </a:xfrm>
              <a:custGeom>
                <a:avLst/>
                <a:gdLst>
                  <a:gd name="T0" fmla="*/ 0 w 296"/>
                  <a:gd name="T1" fmla="*/ 188 h 748"/>
                  <a:gd name="T2" fmla="*/ 0 w 296"/>
                  <a:gd name="T3" fmla="*/ 183 h 748"/>
                  <a:gd name="T4" fmla="*/ 12 w 296"/>
                  <a:gd name="T5" fmla="*/ 166 h 748"/>
                  <a:gd name="T6" fmla="*/ 103 w 296"/>
                  <a:gd name="T7" fmla="*/ 169 h 748"/>
                  <a:gd name="T8" fmla="*/ 143 w 296"/>
                  <a:gd name="T9" fmla="*/ 9 h 748"/>
                  <a:gd name="T10" fmla="*/ 191 w 296"/>
                  <a:gd name="T11" fmla="*/ 11 h 748"/>
                  <a:gd name="T12" fmla="*/ 225 w 296"/>
                  <a:gd name="T13" fmla="*/ 112 h 748"/>
                  <a:gd name="T14" fmla="*/ 245 w 296"/>
                  <a:gd name="T15" fmla="*/ 133 h 748"/>
                  <a:gd name="T16" fmla="*/ 268 w 296"/>
                  <a:gd name="T17" fmla="*/ 153 h 748"/>
                  <a:gd name="T18" fmla="*/ 296 w 296"/>
                  <a:gd name="T19" fmla="*/ 153 h 748"/>
                  <a:gd name="T20" fmla="*/ 275 w 296"/>
                  <a:gd name="T21" fmla="*/ 276 h 748"/>
                  <a:gd name="T22" fmla="*/ 268 w 296"/>
                  <a:gd name="T23" fmla="*/ 288 h 748"/>
                  <a:gd name="T24" fmla="*/ 264 w 296"/>
                  <a:gd name="T25" fmla="*/ 303 h 748"/>
                  <a:gd name="T26" fmla="*/ 253 w 296"/>
                  <a:gd name="T27" fmla="*/ 328 h 748"/>
                  <a:gd name="T28" fmla="*/ 256 w 296"/>
                  <a:gd name="T29" fmla="*/ 354 h 748"/>
                  <a:gd name="T30" fmla="*/ 252 w 296"/>
                  <a:gd name="T31" fmla="*/ 418 h 748"/>
                  <a:gd name="T32" fmla="*/ 249 w 296"/>
                  <a:gd name="T33" fmla="*/ 514 h 748"/>
                  <a:gd name="T34" fmla="*/ 237 w 296"/>
                  <a:gd name="T35" fmla="*/ 577 h 748"/>
                  <a:gd name="T36" fmla="*/ 223 w 296"/>
                  <a:gd name="T37" fmla="*/ 604 h 748"/>
                  <a:gd name="T38" fmla="*/ 215 w 296"/>
                  <a:gd name="T39" fmla="*/ 633 h 748"/>
                  <a:gd name="T40" fmla="*/ 207 w 296"/>
                  <a:gd name="T41" fmla="*/ 662 h 748"/>
                  <a:gd name="T42" fmla="*/ 222 w 296"/>
                  <a:gd name="T43" fmla="*/ 707 h 748"/>
                  <a:gd name="T44" fmla="*/ 182 w 296"/>
                  <a:gd name="T45" fmla="*/ 689 h 748"/>
                  <a:gd name="T46" fmla="*/ 122 w 296"/>
                  <a:gd name="T47" fmla="*/ 748 h 748"/>
                  <a:gd name="T48" fmla="*/ 114 w 296"/>
                  <a:gd name="T49" fmla="*/ 677 h 748"/>
                  <a:gd name="T50" fmla="*/ 97 w 296"/>
                  <a:gd name="T51" fmla="*/ 672 h 748"/>
                  <a:gd name="T52" fmla="*/ 97 w 296"/>
                  <a:gd name="T53" fmla="*/ 609 h 748"/>
                  <a:gd name="T54" fmla="*/ 86 w 296"/>
                  <a:gd name="T55" fmla="*/ 588 h 748"/>
                  <a:gd name="T56" fmla="*/ 64 w 296"/>
                  <a:gd name="T57" fmla="*/ 525 h 748"/>
                  <a:gd name="T58" fmla="*/ 35 w 296"/>
                  <a:gd name="T59" fmla="*/ 383 h 748"/>
                  <a:gd name="T60" fmla="*/ 19 w 296"/>
                  <a:gd name="T61" fmla="*/ 285 h 748"/>
                  <a:gd name="T62" fmla="*/ 0 w 296"/>
                  <a:gd name="T63" fmla="*/ 188 h 7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96" h="748">
                    <a:moveTo>
                      <a:pt x="0" y="188"/>
                    </a:moveTo>
                    <a:cubicBezTo>
                      <a:pt x="0" y="186"/>
                      <a:pt x="0" y="185"/>
                      <a:pt x="0" y="183"/>
                    </a:cubicBezTo>
                    <a:cubicBezTo>
                      <a:pt x="6" y="178"/>
                      <a:pt x="6" y="168"/>
                      <a:pt x="12" y="166"/>
                    </a:cubicBezTo>
                    <a:cubicBezTo>
                      <a:pt x="37" y="176"/>
                      <a:pt x="73" y="176"/>
                      <a:pt x="103" y="169"/>
                    </a:cubicBezTo>
                    <a:cubicBezTo>
                      <a:pt x="116" y="117"/>
                      <a:pt x="127" y="60"/>
                      <a:pt x="143" y="9"/>
                    </a:cubicBezTo>
                    <a:cubicBezTo>
                      <a:pt x="158" y="0"/>
                      <a:pt x="177" y="2"/>
                      <a:pt x="191" y="11"/>
                    </a:cubicBezTo>
                    <a:cubicBezTo>
                      <a:pt x="204" y="36"/>
                      <a:pt x="210" y="83"/>
                      <a:pt x="225" y="112"/>
                    </a:cubicBezTo>
                    <a:cubicBezTo>
                      <a:pt x="229" y="119"/>
                      <a:pt x="237" y="125"/>
                      <a:pt x="245" y="133"/>
                    </a:cubicBezTo>
                    <a:cubicBezTo>
                      <a:pt x="252" y="140"/>
                      <a:pt x="260" y="152"/>
                      <a:pt x="268" y="153"/>
                    </a:cubicBezTo>
                    <a:cubicBezTo>
                      <a:pt x="277" y="155"/>
                      <a:pt x="286" y="149"/>
                      <a:pt x="296" y="153"/>
                    </a:cubicBezTo>
                    <a:cubicBezTo>
                      <a:pt x="291" y="195"/>
                      <a:pt x="275" y="228"/>
                      <a:pt x="275" y="276"/>
                    </a:cubicBezTo>
                    <a:cubicBezTo>
                      <a:pt x="273" y="281"/>
                      <a:pt x="269" y="281"/>
                      <a:pt x="268" y="288"/>
                    </a:cubicBezTo>
                    <a:cubicBezTo>
                      <a:pt x="265" y="291"/>
                      <a:pt x="265" y="298"/>
                      <a:pt x="264" y="303"/>
                    </a:cubicBezTo>
                    <a:cubicBezTo>
                      <a:pt x="261" y="312"/>
                      <a:pt x="253" y="318"/>
                      <a:pt x="253" y="328"/>
                    </a:cubicBezTo>
                    <a:cubicBezTo>
                      <a:pt x="252" y="336"/>
                      <a:pt x="256" y="345"/>
                      <a:pt x="256" y="354"/>
                    </a:cubicBezTo>
                    <a:cubicBezTo>
                      <a:pt x="258" y="380"/>
                      <a:pt x="258" y="399"/>
                      <a:pt x="252" y="418"/>
                    </a:cubicBezTo>
                    <a:cubicBezTo>
                      <a:pt x="266" y="448"/>
                      <a:pt x="257" y="479"/>
                      <a:pt x="249" y="514"/>
                    </a:cubicBezTo>
                    <a:cubicBezTo>
                      <a:pt x="245" y="536"/>
                      <a:pt x="243" y="559"/>
                      <a:pt x="237" y="577"/>
                    </a:cubicBezTo>
                    <a:cubicBezTo>
                      <a:pt x="233" y="586"/>
                      <a:pt x="227" y="595"/>
                      <a:pt x="223" y="604"/>
                    </a:cubicBezTo>
                    <a:cubicBezTo>
                      <a:pt x="220" y="611"/>
                      <a:pt x="218" y="623"/>
                      <a:pt x="215" y="633"/>
                    </a:cubicBezTo>
                    <a:cubicBezTo>
                      <a:pt x="212" y="644"/>
                      <a:pt x="207" y="656"/>
                      <a:pt x="207" y="662"/>
                    </a:cubicBezTo>
                    <a:cubicBezTo>
                      <a:pt x="208" y="675"/>
                      <a:pt x="224" y="690"/>
                      <a:pt x="222" y="707"/>
                    </a:cubicBezTo>
                    <a:cubicBezTo>
                      <a:pt x="203" y="705"/>
                      <a:pt x="197" y="690"/>
                      <a:pt x="182" y="689"/>
                    </a:cubicBezTo>
                    <a:cubicBezTo>
                      <a:pt x="141" y="688"/>
                      <a:pt x="137" y="726"/>
                      <a:pt x="122" y="748"/>
                    </a:cubicBezTo>
                    <a:cubicBezTo>
                      <a:pt x="120" y="724"/>
                      <a:pt x="115" y="702"/>
                      <a:pt x="114" y="677"/>
                    </a:cubicBezTo>
                    <a:cubicBezTo>
                      <a:pt x="108" y="676"/>
                      <a:pt x="99" y="684"/>
                      <a:pt x="97" y="672"/>
                    </a:cubicBezTo>
                    <a:cubicBezTo>
                      <a:pt x="64" y="661"/>
                      <a:pt x="98" y="627"/>
                      <a:pt x="97" y="609"/>
                    </a:cubicBezTo>
                    <a:cubicBezTo>
                      <a:pt x="97" y="602"/>
                      <a:pt x="90" y="595"/>
                      <a:pt x="86" y="588"/>
                    </a:cubicBezTo>
                    <a:cubicBezTo>
                      <a:pt x="74" y="569"/>
                      <a:pt x="70" y="549"/>
                      <a:pt x="64" y="525"/>
                    </a:cubicBezTo>
                    <a:cubicBezTo>
                      <a:pt x="52" y="479"/>
                      <a:pt x="45" y="432"/>
                      <a:pt x="35" y="383"/>
                    </a:cubicBezTo>
                    <a:cubicBezTo>
                      <a:pt x="28" y="351"/>
                      <a:pt x="22" y="318"/>
                      <a:pt x="19" y="285"/>
                    </a:cubicBezTo>
                    <a:cubicBezTo>
                      <a:pt x="18" y="251"/>
                      <a:pt x="7" y="214"/>
                      <a:pt x="0" y="188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66" name="Freeform 179">
                <a:extLst>
                  <a:ext uri="{FF2B5EF4-FFF2-40B4-BE49-F238E27FC236}">
                    <a16:creationId xmlns:a16="http://schemas.microsoft.com/office/drawing/2014/main" id="{1B9F761D-B4B0-4183-BA69-F52A5E363E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4413" y="3113098"/>
                <a:ext cx="452441" cy="569916"/>
              </a:xfrm>
              <a:custGeom>
                <a:avLst/>
                <a:gdLst>
                  <a:gd name="T0" fmla="*/ 0 w 285"/>
                  <a:gd name="T1" fmla="*/ 0 h 359"/>
                  <a:gd name="T2" fmla="*/ 14 w 285"/>
                  <a:gd name="T3" fmla="*/ 96 h 359"/>
                  <a:gd name="T4" fmla="*/ 108 w 285"/>
                  <a:gd name="T5" fmla="*/ 330 h 359"/>
                  <a:gd name="T6" fmla="*/ 285 w 285"/>
                  <a:gd name="T7" fmla="*/ 359 h 359"/>
                  <a:gd name="T8" fmla="*/ 285 w 285"/>
                  <a:gd name="T9" fmla="*/ 311 h 359"/>
                  <a:gd name="T10" fmla="*/ 0 w 285"/>
                  <a:gd name="T11" fmla="*/ 0 h 3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5" h="359">
                    <a:moveTo>
                      <a:pt x="0" y="0"/>
                    </a:moveTo>
                    <a:lnTo>
                      <a:pt x="14" y="96"/>
                    </a:lnTo>
                    <a:lnTo>
                      <a:pt x="108" y="330"/>
                    </a:lnTo>
                    <a:lnTo>
                      <a:pt x="285" y="359"/>
                    </a:lnTo>
                    <a:lnTo>
                      <a:pt x="285" y="31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67" name="Freeform 180">
                <a:extLst>
                  <a:ext uri="{FF2B5EF4-FFF2-40B4-BE49-F238E27FC236}">
                    <a16:creationId xmlns:a16="http://schemas.microsoft.com/office/drawing/2014/main" id="{F4D31508-C376-485D-883B-A24E29A9A7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146435"/>
                <a:ext cx="592139" cy="619126"/>
              </a:xfrm>
              <a:custGeom>
                <a:avLst/>
                <a:gdLst>
                  <a:gd name="T0" fmla="*/ 158 w 158"/>
                  <a:gd name="T1" fmla="*/ 0 h 165"/>
                  <a:gd name="T2" fmla="*/ 158 w 158"/>
                  <a:gd name="T3" fmla="*/ 80 h 165"/>
                  <a:gd name="T4" fmla="*/ 113 w 158"/>
                  <a:gd name="T5" fmla="*/ 158 h 165"/>
                  <a:gd name="T6" fmla="*/ 23 w 158"/>
                  <a:gd name="T7" fmla="*/ 156 h 165"/>
                  <a:gd name="T8" fmla="*/ 0 w 158"/>
                  <a:gd name="T9" fmla="*/ 148 h 165"/>
                  <a:gd name="T10" fmla="*/ 87 w 158"/>
                  <a:gd name="T11" fmla="*/ 137 h 165"/>
                  <a:gd name="T12" fmla="*/ 158 w 158"/>
                  <a:gd name="T13" fmla="*/ 0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8" h="165">
                    <a:moveTo>
                      <a:pt x="158" y="0"/>
                    </a:moveTo>
                    <a:cubicBezTo>
                      <a:pt x="158" y="80"/>
                      <a:pt x="158" y="80"/>
                      <a:pt x="158" y="80"/>
                    </a:cubicBezTo>
                    <a:cubicBezTo>
                      <a:pt x="158" y="80"/>
                      <a:pt x="139" y="165"/>
                      <a:pt x="113" y="158"/>
                    </a:cubicBezTo>
                    <a:cubicBezTo>
                      <a:pt x="87" y="152"/>
                      <a:pt x="26" y="157"/>
                      <a:pt x="23" y="156"/>
                    </a:cubicBezTo>
                    <a:cubicBezTo>
                      <a:pt x="20" y="156"/>
                      <a:pt x="0" y="148"/>
                      <a:pt x="0" y="148"/>
                    </a:cubicBezTo>
                    <a:cubicBezTo>
                      <a:pt x="0" y="148"/>
                      <a:pt x="82" y="138"/>
                      <a:pt x="87" y="137"/>
                    </a:cubicBezTo>
                    <a:cubicBezTo>
                      <a:pt x="92" y="136"/>
                      <a:pt x="158" y="0"/>
                      <a:pt x="1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68" name="Freeform 181">
                <a:extLst>
                  <a:ext uri="{FF2B5EF4-FFF2-40B4-BE49-F238E27FC236}">
                    <a16:creationId xmlns:a16="http://schemas.microsoft.com/office/drawing/2014/main" id="{48945979-F1F6-4C29-B0A6-C407F81229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9813" y="3446473"/>
                <a:ext cx="63501" cy="423863"/>
              </a:xfrm>
              <a:custGeom>
                <a:avLst/>
                <a:gdLst>
                  <a:gd name="T0" fmla="*/ 0 w 40"/>
                  <a:gd name="T1" fmla="*/ 0 h 267"/>
                  <a:gd name="T2" fmla="*/ 0 w 40"/>
                  <a:gd name="T3" fmla="*/ 267 h 267"/>
                  <a:gd name="T4" fmla="*/ 40 w 40"/>
                  <a:gd name="T5" fmla="*/ 260 h 267"/>
                  <a:gd name="T6" fmla="*/ 0 w 40"/>
                  <a:gd name="T7" fmla="*/ 0 h 2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0" h="267">
                    <a:moveTo>
                      <a:pt x="0" y="0"/>
                    </a:moveTo>
                    <a:lnTo>
                      <a:pt x="0" y="267"/>
                    </a:lnTo>
                    <a:lnTo>
                      <a:pt x="40" y="26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69" name="Freeform 182">
                <a:extLst>
                  <a:ext uri="{FF2B5EF4-FFF2-40B4-BE49-F238E27FC236}">
                    <a16:creationId xmlns:a16="http://schemas.microsoft.com/office/drawing/2014/main" id="{1F723817-26D2-4890-88B9-01C3F989DE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48036" y="3884623"/>
                <a:ext cx="217490" cy="1497016"/>
              </a:xfrm>
              <a:custGeom>
                <a:avLst/>
                <a:gdLst>
                  <a:gd name="T0" fmla="*/ 58 w 58"/>
                  <a:gd name="T1" fmla="*/ 0 h 399"/>
                  <a:gd name="T2" fmla="*/ 6 w 58"/>
                  <a:gd name="T3" fmla="*/ 369 h 399"/>
                  <a:gd name="T4" fmla="*/ 0 w 58"/>
                  <a:gd name="T5" fmla="*/ 399 h 399"/>
                  <a:gd name="T6" fmla="*/ 34 w 58"/>
                  <a:gd name="T7" fmla="*/ 312 h 399"/>
                  <a:gd name="T8" fmla="*/ 29 w 58"/>
                  <a:gd name="T9" fmla="*/ 255 h 399"/>
                  <a:gd name="T10" fmla="*/ 48 w 58"/>
                  <a:gd name="T11" fmla="*/ 139 h 399"/>
                  <a:gd name="T12" fmla="*/ 58 w 58"/>
                  <a:gd name="T13" fmla="*/ 0 h 3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8" h="399">
                    <a:moveTo>
                      <a:pt x="58" y="0"/>
                    </a:moveTo>
                    <a:cubicBezTo>
                      <a:pt x="6" y="369"/>
                      <a:pt x="6" y="369"/>
                      <a:pt x="6" y="369"/>
                    </a:cubicBezTo>
                    <a:cubicBezTo>
                      <a:pt x="0" y="399"/>
                      <a:pt x="0" y="399"/>
                      <a:pt x="0" y="399"/>
                    </a:cubicBezTo>
                    <a:cubicBezTo>
                      <a:pt x="0" y="399"/>
                      <a:pt x="36" y="342"/>
                      <a:pt x="34" y="312"/>
                    </a:cubicBezTo>
                    <a:cubicBezTo>
                      <a:pt x="32" y="282"/>
                      <a:pt x="28" y="282"/>
                      <a:pt x="29" y="255"/>
                    </a:cubicBezTo>
                    <a:cubicBezTo>
                      <a:pt x="31" y="227"/>
                      <a:pt x="46" y="145"/>
                      <a:pt x="48" y="139"/>
                    </a:cubicBezTo>
                    <a:cubicBezTo>
                      <a:pt x="50" y="132"/>
                      <a:pt x="58" y="0"/>
                      <a:pt x="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70" name="Freeform 183">
                <a:extLst>
                  <a:ext uri="{FF2B5EF4-FFF2-40B4-BE49-F238E27FC236}">
                    <a16:creationId xmlns:a16="http://schemas.microsoft.com/office/drawing/2014/main" id="{19329A96-E9BA-4D23-B488-BA143B3EE3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3802" y="4038612"/>
                <a:ext cx="231777" cy="385763"/>
              </a:xfrm>
              <a:custGeom>
                <a:avLst/>
                <a:gdLst>
                  <a:gd name="T0" fmla="*/ 62 w 62"/>
                  <a:gd name="T1" fmla="*/ 0 h 103"/>
                  <a:gd name="T2" fmla="*/ 35 w 62"/>
                  <a:gd name="T3" fmla="*/ 31 h 103"/>
                  <a:gd name="T4" fmla="*/ 27 w 62"/>
                  <a:gd name="T5" fmla="*/ 66 h 103"/>
                  <a:gd name="T6" fmla="*/ 6 w 62"/>
                  <a:gd name="T7" fmla="*/ 79 h 103"/>
                  <a:gd name="T8" fmla="*/ 23 w 62"/>
                  <a:gd name="T9" fmla="*/ 30 h 103"/>
                  <a:gd name="T10" fmla="*/ 62 w 62"/>
                  <a:gd name="T11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2" h="103">
                    <a:moveTo>
                      <a:pt x="62" y="0"/>
                    </a:moveTo>
                    <a:cubicBezTo>
                      <a:pt x="62" y="0"/>
                      <a:pt x="37" y="20"/>
                      <a:pt x="35" y="31"/>
                    </a:cubicBezTo>
                    <a:cubicBezTo>
                      <a:pt x="33" y="42"/>
                      <a:pt x="25" y="75"/>
                      <a:pt x="27" y="66"/>
                    </a:cubicBezTo>
                    <a:cubicBezTo>
                      <a:pt x="28" y="58"/>
                      <a:pt x="0" y="103"/>
                      <a:pt x="6" y="79"/>
                    </a:cubicBezTo>
                    <a:cubicBezTo>
                      <a:pt x="12" y="55"/>
                      <a:pt x="14" y="48"/>
                      <a:pt x="23" y="30"/>
                    </a:cubicBezTo>
                    <a:cubicBezTo>
                      <a:pt x="33" y="12"/>
                      <a:pt x="62" y="0"/>
                      <a:pt x="62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71" name="Freeform 184">
                <a:extLst>
                  <a:ext uri="{FF2B5EF4-FFF2-40B4-BE49-F238E27FC236}">
                    <a16:creationId xmlns:a16="http://schemas.microsoft.com/office/drawing/2014/main" id="{D571ACD5-2461-4255-83F7-FDC4DB75A9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5862" y="4581537"/>
                <a:ext cx="153989" cy="434977"/>
              </a:xfrm>
              <a:custGeom>
                <a:avLst/>
                <a:gdLst>
                  <a:gd name="T0" fmla="*/ 41 w 41"/>
                  <a:gd name="T1" fmla="*/ 0 h 116"/>
                  <a:gd name="T2" fmla="*/ 25 w 41"/>
                  <a:gd name="T3" fmla="*/ 47 h 116"/>
                  <a:gd name="T4" fmla="*/ 7 w 41"/>
                  <a:gd name="T5" fmla="*/ 85 h 116"/>
                  <a:gd name="T6" fmla="*/ 36 w 41"/>
                  <a:gd name="T7" fmla="*/ 0 h 116"/>
                  <a:gd name="T8" fmla="*/ 41 w 41"/>
                  <a:gd name="T9" fmla="*/ 0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116">
                    <a:moveTo>
                      <a:pt x="41" y="0"/>
                    </a:moveTo>
                    <a:cubicBezTo>
                      <a:pt x="38" y="8"/>
                      <a:pt x="33" y="18"/>
                      <a:pt x="25" y="47"/>
                    </a:cubicBezTo>
                    <a:cubicBezTo>
                      <a:pt x="17" y="75"/>
                      <a:pt x="0" y="116"/>
                      <a:pt x="7" y="85"/>
                    </a:cubicBezTo>
                    <a:cubicBezTo>
                      <a:pt x="15" y="53"/>
                      <a:pt x="31" y="0"/>
                      <a:pt x="36" y="0"/>
                    </a:cubicBezTo>
                    <a:cubicBezTo>
                      <a:pt x="41" y="0"/>
                      <a:pt x="41" y="0"/>
                      <a:pt x="41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72" name="Freeform 185">
                <a:extLst>
                  <a:ext uri="{FF2B5EF4-FFF2-40B4-BE49-F238E27FC236}">
                    <a16:creationId xmlns:a16="http://schemas.microsoft.com/office/drawing/2014/main" id="{2B214921-C38C-4D82-825C-CC4F642225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5988" y="5470541"/>
                <a:ext cx="274638" cy="165099"/>
              </a:xfrm>
              <a:custGeom>
                <a:avLst/>
                <a:gdLst>
                  <a:gd name="T0" fmla="*/ 0 w 73"/>
                  <a:gd name="T1" fmla="*/ 41 h 44"/>
                  <a:gd name="T2" fmla="*/ 37 w 73"/>
                  <a:gd name="T3" fmla="*/ 29 h 44"/>
                  <a:gd name="T4" fmla="*/ 68 w 73"/>
                  <a:gd name="T5" fmla="*/ 29 h 44"/>
                  <a:gd name="T6" fmla="*/ 50 w 73"/>
                  <a:gd name="T7" fmla="*/ 0 h 44"/>
                  <a:gd name="T8" fmla="*/ 0 w 73"/>
                  <a:gd name="T9" fmla="*/ 41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3" h="44">
                    <a:moveTo>
                      <a:pt x="0" y="41"/>
                    </a:moveTo>
                    <a:cubicBezTo>
                      <a:pt x="0" y="41"/>
                      <a:pt x="8" y="27"/>
                      <a:pt x="37" y="29"/>
                    </a:cubicBezTo>
                    <a:cubicBezTo>
                      <a:pt x="65" y="31"/>
                      <a:pt x="66" y="44"/>
                      <a:pt x="68" y="29"/>
                    </a:cubicBezTo>
                    <a:cubicBezTo>
                      <a:pt x="70" y="14"/>
                      <a:pt x="73" y="0"/>
                      <a:pt x="50" y="0"/>
                    </a:cubicBezTo>
                    <a:cubicBezTo>
                      <a:pt x="27" y="0"/>
                      <a:pt x="0" y="41"/>
                      <a:pt x="0" y="4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73" name="Freeform 186">
                <a:extLst>
                  <a:ext uri="{FF2B5EF4-FFF2-40B4-BE49-F238E27FC236}">
                    <a16:creationId xmlns:a16="http://schemas.microsoft.com/office/drawing/2014/main" id="{F56C80FE-F7BB-4FE0-976E-D4DCC2A126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5111766"/>
                <a:ext cx="139699" cy="265114"/>
              </a:xfrm>
              <a:custGeom>
                <a:avLst/>
                <a:gdLst>
                  <a:gd name="T0" fmla="*/ 16 w 37"/>
                  <a:gd name="T1" fmla="*/ 2 h 71"/>
                  <a:gd name="T2" fmla="*/ 31 w 37"/>
                  <a:gd name="T3" fmla="*/ 31 h 71"/>
                  <a:gd name="T4" fmla="*/ 24 w 37"/>
                  <a:gd name="T5" fmla="*/ 42 h 71"/>
                  <a:gd name="T6" fmla="*/ 3 w 37"/>
                  <a:gd name="T7" fmla="*/ 7 h 71"/>
                  <a:gd name="T8" fmla="*/ 16 w 37"/>
                  <a:gd name="T9" fmla="*/ 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71">
                    <a:moveTo>
                      <a:pt x="16" y="2"/>
                    </a:moveTo>
                    <a:cubicBezTo>
                      <a:pt x="24" y="6"/>
                      <a:pt x="32" y="19"/>
                      <a:pt x="31" y="31"/>
                    </a:cubicBezTo>
                    <a:cubicBezTo>
                      <a:pt x="30" y="43"/>
                      <a:pt x="37" y="71"/>
                      <a:pt x="24" y="42"/>
                    </a:cubicBezTo>
                    <a:cubicBezTo>
                      <a:pt x="11" y="14"/>
                      <a:pt x="0" y="14"/>
                      <a:pt x="3" y="7"/>
                    </a:cubicBezTo>
                    <a:cubicBezTo>
                      <a:pt x="6" y="0"/>
                      <a:pt x="16" y="2"/>
                      <a:pt x="16" y="2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74" name="Freeform 187">
                <a:extLst>
                  <a:ext uri="{FF2B5EF4-FFF2-40B4-BE49-F238E27FC236}">
                    <a16:creationId xmlns:a16="http://schemas.microsoft.com/office/drawing/2014/main" id="{0BB75EA8-06CD-4B5E-B792-8650CEA700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4" y="4159261"/>
                <a:ext cx="322265" cy="741365"/>
              </a:xfrm>
              <a:custGeom>
                <a:avLst/>
                <a:gdLst>
                  <a:gd name="T0" fmla="*/ 0 w 86"/>
                  <a:gd name="T1" fmla="*/ 0 h 198"/>
                  <a:gd name="T2" fmla="*/ 38 w 86"/>
                  <a:gd name="T3" fmla="*/ 16 h 198"/>
                  <a:gd name="T4" fmla="*/ 51 w 86"/>
                  <a:gd name="T5" fmla="*/ 54 h 198"/>
                  <a:gd name="T6" fmla="*/ 36 w 86"/>
                  <a:gd name="T7" fmla="*/ 54 h 198"/>
                  <a:gd name="T8" fmla="*/ 70 w 86"/>
                  <a:gd name="T9" fmla="*/ 161 h 198"/>
                  <a:gd name="T10" fmla="*/ 37 w 86"/>
                  <a:gd name="T11" fmla="*/ 132 h 198"/>
                  <a:gd name="T12" fmla="*/ 36 w 86"/>
                  <a:gd name="T13" fmla="*/ 198 h 198"/>
                  <a:gd name="T14" fmla="*/ 16 w 86"/>
                  <a:gd name="T15" fmla="*/ 96 h 198"/>
                  <a:gd name="T16" fmla="*/ 0 w 86"/>
                  <a:gd name="T17" fmla="*/ 28 h 198"/>
                  <a:gd name="T18" fmla="*/ 0 w 86"/>
                  <a:gd name="T19" fmla="*/ 0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6" h="198">
                    <a:moveTo>
                      <a:pt x="0" y="0"/>
                    </a:moveTo>
                    <a:cubicBezTo>
                      <a:pt x="0" y="0"/>
                      <a:pt x="32" y="2"/>
                      <a:pt x="38" y="16"/>
                    </a:cubicBezTo>
                    <a:cubicBezTo>
                      <a:pt x="44" y="31"/>
                      <a:pt x="66" y="67"/>
                      <a:pt x="51" y="54"/>
                    </a:cubicBezTo>
                    <a:cubicBezTo>
                      <a:pt x="36" y="41"/>
                      <a:pt x="17" y="24"/>
                      <a:pt x="36" y="54"/>
                    </a:cubicBezTo>
                    <a:cubicBezTo>
                      <a:pt x="54" y="84"/>
                      <a:pt x="86" y="181"/>
                      <a:pt x="70" y="161"/>
                    </a:cubicBezTo>
                    <a:cubicBezTo>
                      <a:pt x="55" y="141"/>
                      <a:pt x="39" y="108"/>
                      <a:pt x="37" y="132"/>
                    </a:cubicBezTo>
                    <a:cubicBezTo>
                      <a:pt x="36" y="156"/>
                      <a:pt x="36" y="198"/>
                      <a:pt x="36" y="198"/>
                    </a:cubicBezTo>
                    <a:cubicBezTo>
                      <a:pt x="16" y="96"/>
                      <a:pt x="16" y="96"/>
                      <a:pt x="16" y="96"/>
                    </a:cubicBezTo>
                    <a:cubicBezTo>
                      <a:pt x="0" y="28"/>
                      <a:pt x="0" y="28"/>
                      <a:pt x="0" y="28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75" name="Freeform 157">
                <a:extLst>
                  <a:ext uri="{FF2B5EF4-FFF2-40B4-BE49-F238E27FC236}">
                    <a16:creationId xmlns:a16="http://schemas.microsoft.com/office/drawing/2014/main" id="{0AF9C7FE-AD8F-47E0-8340-DB48418643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5160" y="960441"/>
                <a:ext cx="584203" cy="1049339"/>
              </a:xfrm>
              <a:custGeom>
                <a:avLst/>
                <a:gdLst>
                  <a:gd name="T0" fmla="*/ 0 w 156"/>
                  <a:gd name="T1" fmla="*/ 112 h 280"/>
                  <a:gd name="T2" fmla="*/ 0 w 156"/>
                  <a:gd name="T3" fmla="*/ 104 h 280"/>
                  <a:gd name="T4" fmla="*/ 11 w 156"/>
                  <a:gd name="T5" fmla="*/ 96 h 280"/>
                  <a:gd name="T6" fmla="*/ 4 w 156"/>
                  <a:gd name="T7" fmla="*/ 46 h 280"/>
                  <a:gd name="T8" fmla="*/ 28 w 156"/>
                  <a:gd name="T9" fmla="*/ 22 h 280"/>
                  <a:gd name="T10" fmla="*/ 59 w 156"/>
                  <a:gd name="T11" fmla="*/ 4 h 280"/>
                  <a:gd name="T12" fmla="*/ 108 w 156"/>
                  <a:gd name="T13" fmla="*/ 6 h 280"/>
                  <a:gd name="T14" fmla="*/ 138 w 156"/>
                  <a:gd name="T15" fmla="*/ 93 h 280"/>
                  <a:gd name="T16" fmla="*/ 143 w 156"/>
                  <a:gd name="T17" fmla="*/ 99 h 280"/>
                  <a:gd name="T18" fmla="*/ 131 w 156"/>
                  <a:gd name="T19" fmla="*/ 140 h 280"/>
                  <a:gd name="T20" fmla="*/ 122 w 156"/>
                  <a:gd name="T21" fmla="*/ 147 h 280"/>
                  <a:gd name="T22" fmla="*/ 114 w 156"/>
                  <a:gd name="T23" fmla="*/ 215 h 280"/>
                  <a:gd name="T24" fmla="*/ 80 w 156"/>
                  <a:gd name="T25" fmla="*/ 280 h 280"/>
                  <a:gd name="T26" fmla="*/ 56 w 156"/>
                  <a:gd name="T27" fmla="*/ 267 h 280"/>
                  <a:gd name="T28" fmla="*/ 44 w 156"/>
                  <a:gd name="T29" fmla="*/ 241 h 280"/>
                  <a:gd name="T30" fmla="*/ 24 w 156"/>
                  <a:gd name="T31" fmla="*/ 188 h 280"/>
                  <a:gd name="T32" fmla="*/ 24 w 156"/>
                  <a:gd name="T33" fmla="*/ 150 h 280"/>
                  <a:gd name="T34" fmla="*/ 12 w 156"/>
                  <a:gd name="T35" fmla="*/ 137 h 280"/>
                  <a:gd name="T36" fmla="*/ 0 w 156"/>
                  <a:gd name="T37" fmla="*/ 112 h 2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56" h="280">
                    <a:moveTo>
                      <a:pt x="0" y="112"/>
                    </a:moveTo>
                    <a:cubicBezTo>
                      <a:pt x="0" y="109"/>
                      <a:pt x="0" y="107"/>
                      <a:pt x="0" y="104"/>
                    </a:cubicBezTo>
                    <a:cubicBezTo>
                      <a:pt x="3" y="101"/>
                      <a:pt x="3" y="94"/>
                      <a:pt x="11" y="96"/>
                    </a:cubicBezTo>
                    <a:cubicBezTo>
                      <a:pt x="6" y="80"/>
                      <a:pt x="6" y="64"/>
                      <a:pt x="4" y="46"/>
                    </a:cubicBezTo>
                    <a:cubicBezTo>
                      <a:pt x="8" y="36"/>
                      <a:pt x="19" y="30"/>
                      <a:pt x="28" y="22"/>
                    </a:cubicBezTo>
                    <a:cubicBezTo>
                      <a:pt x="38" y="16"/>
                      <a:pt x="47" y="7"/>
                      <a:pt x="59" y="4"/>
                    </a:cubicBezTo>
                    <a:cubicBezTo>
                      <a:pt x="72" y="0"/>
                      <a:pt x="89" y="6"/>
                      <a:pt x="108" y="6"/>
                    </a:cubicBezTo>
                    <a:cubicBezTo>
                      <a:pt x="134" y="19"/>
                      <a:pt x="156" y="55"/>
                      <a:pt x="138" y="93"/>
                    </a:cubicBezTo>
                    <a:cubicBezTo>
                      <a:pt x="137" y="97"/>
                      <a:pt x="145" y="96"/>
                      <a:pt x="143" y="99"/>
                    </a:cubicBezTo>
                    <a:cubicBezTo>
                      <a:pt x="149" y="115"/>
                      <a:pt x="135" y="128"/>
                      <a:pt x="131" y="140"/>
                    </a:cubicBezTo>
                    <a:cubicBezTo>
                      <a:pt x="130" y="142"/>
                      <a:pt x="126" y="146"/>
                      <a:pt x="122" y="147"/>
                    </a:cubicBezTo>
                    <a:cubicBezTo>
                      <a:pt x="122" y="170"/>
                      <a:pt x="121" y="196"/>
                      <a:pt x="114" y="215"/>
                    </a:cubicBezTo>
                    <a:cubicBezTo>
                      <a:pt x="108" y="240"/>
                      <a:pt x="102" y="273"/>
                      <a:pt x="80" y="280"/>
                    </a:cubicBezTo>
                    <a:cubicBezTo>
                      <a:pt x="72" y="274"/>
                      <a:pt x="61" y="274"/>
                      <a:pt x="56" y="267"/>
                    </a:cubicBezTo>
                    <a:cubicBezTo>
                      <a:pt x="51" y="260"/>
                      <a:pt x="48" y="249"/>
                      <a:pt x="44" y="241"/>
                    </a:cubicBezTo>
                    <a:cubicBezTo>
                      <a:pt x="38" y="226"/>
                      <a:pt x="27" y="204"/>
                      <a:pt x="24" y="188"/>
                    </a:cubicBezTo>
                    <a:cubicBezTo>
                      <a:pt x="22" y="175"/>
                      <a:pt x="27" y="161"/>
                      <a:pt x="24" y="150"/>
                    </a:cubicBezTo>
                    <a:cubicBezTo>
                      <a:pt x="22" y="140"/>
                      <a:pt x="18" y="144"/>
                      <a:pt x="12" y="137"/>
                    </a:cubicBezTo>
                    <a:cubicBezTo>
                      <a:pt x="7" y="130"/>
                      <a:pt x="4" y="118"/>
                      <a:pt x="0" y="112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76" name="Freeform 158">
                <a:extLst>
                  <a:ext uri="{FF2B5EF4-FFF2-40B4-BE49-F238E27FC236}">
                    <a16:creationId xmlns:a16="http://schemas.microsoft.com/office/drawing/2014/main" id="{C0CCE2B7-8091-456E-A1BF-16EF74E3982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49535" y="3479810"/>
                <a:ext cx="255587" cy="434977"/>
              </a:xfrm>
              <a:custGeom>
                <a:avLst/>
                <a:gdLst>
                  <a:gd name="T0" fmla="*/ 63 w 68"/>
                  <a:gd name="T1" fmla="*/ 116 h 116"/>
                  <a:gd name="T2" fmla="*/ 60 w 68"/>
                  <a:gd name="T3" fmla="*/ 116 h 116"/>
                  <a:gd name="T4" fmla="*/ 16 w 68"/>
                  <a:gd name="T5" fmla="*/ 98 h 116"/>
                  <a:gd name="T6" fmla="*/ 0 w 68"/>
                  <a:gd name="T7" fmla="*/ 23 h 116"/>
                  <a:gd name="T8" fmla="*/ 55 w 68"/>
                  <a:gd name="T9" fmla="*/ 16 h 116"/>
                  <a:gd name="T10" fmla="*/ 68 w 68"/>
                  <a:gd name="T11" fmla="*/ 91 h 116"/>
                  <a:gd name="T12" fmla="*/ 62 w 68"/>
                  <a:gd name="T13" fmla="*/ 103 h 116"/>
                  <a:gd name="T14" fmla="*/ 63 w 68"/>
                  <a:gd name="T15" fmla="*/ 116 h 116"/>
                  <a:gd name="T16" fmla="*/ 38 w 68"/>
                  <a:gd name="T17" fmla="*/ 65 h 116"/>
                  <a:gd name="T18" fmla="*/ 54 w 68"/>
                  <a:gd name="T19" fmla="*/ 91 h 116"/>
                  <a:gd name="T20" fmla="*/ 44 w 68"/>
                  <a:gd name="T21" fmla="*/ 60 h 116"/>
                  <a:gd name="T22" fmla="*/ 38 w 68"/>
                  <a:gd name="T23" fmla="*/ 65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8" h="116">
                    <a:moveTo>
                      <a:pt x="63" y="116"/>
                    </a:moveTo>
                    <a:cubicBezTo>
                      <a:pt x="62" y="116"/>
                      <a:pt x="60" y="116"/>
                      <a:pt x="60" y="116"/>
                    </a:cubicBezTo>
                    <a:cubicBezTo>
                      <a:pt x="46" y="108"/>
                      <a:pt x="26" y="108"/>
                      <a:pt x="16" y="98"/>
                    </a:cubicBezTo>
                    <a:cubicBezTo>
                      <a:pt x="0" y="81"/>
                      <a:pt x="0" y="56"/>
                      <a:pt x="0" y="23"/>
                    </a:cubicBezTo>
                    <a:cubicBezTo>
                      <a:pt x="12" y="8"/>
                      <a:pt x="40" y="0"/>
                      <a:pt x="55" y="16"/>
                    </a:cubicBezTo>
                    <a:cubicBezTo>
                      <a:pt x="60" y="40"/>
                      <a:pt x="62" y="69"/>
                      <a:pt x="68" y="91"/>
                    </a:cubicBezTo>
                    <a:cubicBezTo>
                      <a:pt x="68" y="98"/>
                      <a:pt x="59" y="95"/>
                      <a:pt x="62" y="103"/>
                    </a:cubicBezTo>
                    <a:cubicBezTo>
                      <a:pt x="66" y="106"/>
                      <a:pt x="67" y="110"/>
                      <a:pt x="63" y="116"/>
                    </a:cubicBezTo>
                    <a:close/>
                    <a:moveTo>
                      <a:pt x="38" y="65"/>
                    </a:moveTo>
                    <a:cubicBezTo>
                      <a:pt x="40" y="75"/>
                      <a:pt x="38" y="93"/>
                      <a:pt x="54" y="91"/>
                    </a:cubicBezTo>
                    <a:cubicBezTo>
                      <a:pt x="47" y="85"/>
                      <a:pt x="50" y="69"/>
                      <a:pt x="44" y="60"/>
                    </a:cubicBezTo>
                    <a:cubicBezTo>
                      <a:pt x="43" y="64"/>
                      <a:pt x="38" y="61"/>
                      <a:pt x="38" y="6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77" name="Freeform 161">
                <a:extLst>
                  <a:ext uri="{FF2B5EF4-FFF2-40B4-BE49-F238E27FC236}">
                    <a16:creationId xmlns:a16="http://schemas.microsoft.com/office/drawing/2014/main" id="{20A1B991-9469-4133-BE08-71EB28C2AF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1695456"/>
                <a:ext cx="525465" cy="1109667"/>
              </a:xfrm>
              <a:custGeom>
                <a:avLst/>
                <a:gdLst>
                  <a:gd name="T0" fmla="*/ 139 w 140"/>
                  <a:gd name="T1" fmla="*/ 64 h 296"/>
                  <a:gd name="T2" fmla="*/ 139 w 140"/>
                  <a:gd name="T3" fmla="*/ 71 h 296"/>
                  <a:gd name="T4" fmla="*/ 138 w 140"/>
                  <a:gd name="T5" fmla="*/ 71 h 296"/>
                  <a:gd name="T6" fmla="*/ 93 w 140"/>
                  <a:gd name="T7" fmla="*/ 296 h 296"/>
                  <a:gd name="T8" fmla="*/ 84 w 140"/>
                  <a:gd name="T9" fmla="*/ 296 h 296"/>
                  <a:gd name="T10" fmla="*/ 75 w 140"/>
                  <a:gd name="T11" fmla="*/ 294 h 296"/>
                  <a:gd name="T12" fmla="*/ 63 w 140"/>
                  <a:gd name="T13" fmla="*/ 261 h 296"/>
                  <a:gd name="T14" fmla="*/ 33 w 140"/>
                  <a:gd name="T15" fmla="*/ 170 h 296"/>
                  <a:gd name="T16" fmla="*/ 0 w 140"/>
                  <a:gd name="T17" fmla="*/ 34 h 296"/>
                  <a:gd name="T18" fmla="*/ 0 w 140"/>
                  <a:gd name="T19" fmla="*/ 27 h 296"/>
                  <a:gd name="T20" fmla="*/ 16 w 140"/>
                  <a:gd name="T21" fmla="*/ 0 h 296"/>
                  <a:gd name="T22" fmla="*/ 67 w 140"/>
                  <a:gd name="T23" fmla="*/ 34 h 296"/>
                  <a:gd name="T24" fmla="*/ 70 w 140"/>
                  <a:gd name="T25" fmla="*/ 68 h 296"/>
                  <a:gd name="T26" fmla="*/ 81 w 140"/>
                  <a:gd name="T27" fmla="*/ 61 h 296"/>
                  <a:gd name="T28" fmla="*/ 76 w 140"/>
                  <a:gd name="T29" fmla="*/ 43 h 296"/>
                  <a:gd name="T30" fmla="*/ 110 w 140"/>
                  <a:gd name="T31" fmla="*/ 11 h 296"/>
                  <a:gd name="T32" fmla="*/ 121 w 140"/>
                  <a:gd name="T33" fmla="*/ 3 h 296"/>
                  <a:gd name="T34" fmla="*/ 139 w 140"/>
                  <a:gd name="T35" fmla="*/ 64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0" h="296">
                    <a:moveTo>
                      <a:pt x="139" y="64"/>
                    </a:moveTo>
                    <a:cubicBezTo>
                      <a:pt x="139" y="67"/>
                      <a:pt x="139" y="68"/>
                      <a:pt x="139" y="71"/>
                    </a:cubicBezTo>
                    <a:cubicBezTo>
                      <a:pt x="138" y="71"/>
                      <a:pt x="138" y="71"/>
                      <a:pt x="138" y="71"/>
                    </a:cubicBezTo>
                    <a:cubicBezTo>
                      <a:pt x="125" y="148"/>
                      <a:pt x="108" y="221"/>
                      <a:pt x="93" y="296"/>
                    </a:cubicBezTo>
                    <a:cubicBezTo>
                      <a:pt x="90" y="296"/>
                      <a:pt x="87" y="296"/>
                      <a:pt x="84" y="296"/>
                    </a:cubicBezTo>
                    <a:cubicBezTo>
                      <a:pt x="85" y="294"/>
                      <a:pt x="78" y="296"/>
                      <a:pt x="75" y="294"/>
                    </a:cubicBezTo>
                    <a:cubicBezTo>
                      <a:pt x="72" y="291"/>
                      <a:pt x="67" y="273"/>
                      <a:pt x="63" y="261"/>
                    </a:cubicBezTo>
                    <a:cubicBezTo>
                      <a:pt x="53" y="231"/>
                      <a:pt x="42" y="201"/>
                      <a:pt x="33" y="170"/>
                    </a:cubicBezTo>
                    <a:cubicBezTo>
                      <a:pt x="18" y="118"/>
                      <a:pt x="8" y="74"/>
                      <a:pt x="0" y="34"/>
                    </a:cubicBezTo>
                    <a:cubicBezTo>
                      <a:pt x="0" y="32"/>
                      <a:pt x="0" y="29"/>
                      <a:pt x="0" y="27"/>
                    </a:cubicBezTo>
                    <a:cubicBezTo>
                      <a:pt x="3" y="16"/>
                      <a:pt x="3" y="0"/>
                      <a:pt x="16" y="0"/>
                    </a:cubicBezTo>
                    <a:cubicBezTo>
                      <a:pt x="31" y="13"/>
                      <a:pt x="49" y="23"/>
                      <a:pt x="67" y="34"/>
                    </a:cubicBezTo>
                    <a:cubicBezTo>
                      <a:pt x="74" y="43"/>
                      <a:pt x="71" y="56"/>
                      <a:pt x="70" y="68"/>
                    </a:cubicBezTo>
                    <a:cubicBezTo>
                      <a:pt x="75" y="68"/>
                      <a:pt x="80" y="64"/>
                      <a:pt x="81" y="61"/>
                    </a:cubicBezTo>
                    <a:cubicBezTo>
                      <a:pt x="80" y="62"/>
                      <a:pt x="72" y="49"/>
                      <a:pt x="76" y="43"/>
                    </a:cubicBezTo>
                    <a:cubicBezTo>
                      <a:pt x="87" y="33"/>
                      <a:pt x="98" y="22"/>
                      <a:pt x="110" y="11"/>
                    </a:cubicBezTo>
                    <a:cubicBezTo>
                      <a:pt x="114" y="8"/>
                      <a:pt x="116" y="0"/>
                      <a:pt x="121" y="3"/>
                    </a:cubicBezTo>
                    <a:cubicBezTo>
                      <a:pt x="140" y="11"/>
                      <a:pt x="134" y="43"/>
                      <a:pt x="139" y="64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78" name="Freeform 162">
                <a:extLst>
                  <a:ext uri="{FF2B5EF4-FFF2-40B4-BE49-F238E27FC236}">
                    <a16:creationId xmlns:a16="http://schemas.microsoft.com/office/drawing/2014/main" id="{5601E937-38F8-45AA-9635-85D1B282B2E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19371" y="1709743"/>
                <a:ext cx="1695457" cy="2039945"/>
              </a:xfrm>
              <a:custGeom>
                <a:avLst/>
                <a:gdLst>
                  <a:gd name="T0" fmla="*/ 289 w 452"/>
                  <a:gd name="T1" fmla="*/ 0 h 544"/>
                  <a:gd name="T2" fmla="*/ 293 w 452"/>
                  <a:gd name="T3" fmla="*/ 0 h 544"/>
                  <a:gd name="T4" fmla="*/ 403 w 452"/>
                  <a:gd name="T5" fmla="*/ 35 h 544"/>
                  <a:gd name="T6" fmla="*/ 413 w 452"/>
                  <a:gd name="T7" fmla="*/ 78 h 544"/>
                  <a:gd name="T8" fmla="*/ 414 w 452"/>
                  <a:gd name="T9" fmla="*/ 130 h 544"/>
                  <a:gd name="T10" fmla="*/ 421 w 452"/>
                  <a:gd name="T11" fmla="*/ 163 h 544"/>
                  <a:gd name="T12" fmla="*/ 424 w 452"/>
                  <a:gd name="T13" fmla="*/ 225 h 544"/>
                  <a:gd name="T14" fmla="*/ 446 w 452"/>
                  <a:gd name="T15" fmla="*/ 341 h 544"/>
                  <a:gd name="T16" fmla="*/ 452 w 452"/>
                  <a:gd name="T17" fmla="*/ 475 h 544"/>
                  <a:gd name="T18" fmla="*/ 439 w 452"/>
                  <a:gd name="T19" fmla="*/ 471 h 544"/>
                  <a:gd name="T20" fmla="*/ 395 w 452"/>
                  <a:gd name="T21" fmla="*/ 476 h 544"/>
                  <a:gd name="T22" fmla="*/ 395 w 452"/>
                  <a:gd name="T23" fmla="*/ 513 h 544"/>
                  <a:gd name="T24" fmla="*/ 340 w 452"/>
                  <a:gd name="T25" fmla="*/ 517 h 544"/>
                  <a:gd name="T26" fmla="*/ 289 w 452"/>
                  <a:gd name="T27" fmla="*/ 470 h 544"/>
                  <a:gd name="T28" fmla="*/ 248 w 452"/>
                  <a:gd name="T29" fmla="*/ 372 h 544"/>
                  <a:gd name="T30" fmla="*/ 206 w 452"/>
                  <a:gd name="T31" fmla="*/ 527 h 544"/>
                  <a:gd name="T32" fmla="*/ 70 w 452"/>
                  <a:gd name="T33" fmla="*/ 523 h 544"/>
                  <a:gd name="T34" fmla="*/ 70 w 452"/>
                  <a:gd name="T35" fmla="*/ 499 h 544"/>
                  <a:gd name="T36" fmla="*/ 56 w 452"/>
                  <a:gd name="T37" fmla="*/ 486 h 544"/>
                  <a:gd name="T38" fmla="*/ 4 w 452"/>
                  <a:gd name="T39" fmla="*/ 499 h 544"/>
                  <a:gd name="T40" fmla="*/ 4 w 452"/>
                  <a:gd name="T41" fmla="*/ 364 h 544"/>
                  <a:gd name="T42" fmla="*/ 12 w 452"/>
                  <a:gd name="T43" fmla="*/ 322 h 544"/>
                  <a:gd name="T44" fmla="*/ 16 w 452"/>
                  <a:gd name="T45" fmla="*/ 264 h 544"/>
                  <a:gd name="T46" fmla="*/ 33 w 452"/>
                  <a:gd name="T47" fmla="*/ 124 h 544"/>
                  <a:gd name="T48" fmla="*/ 49 w 452"/>
                  <a:gd name="T49" fmla="*/ 44 h 544"/>
                  <a:gd name="T50" fmla="*/ 107 w 452"/>
                  <a:gd name="T51" fmla="*/ 25 h 544"/>
                  <a:gd name="T52" fmla="*/ 163 w 452"/>
                  <a:gd name="T53" fmla="*/ 4 h 544"/>
                  <a:gd name="T54" fmla="*/ 196 w 452"/>
                  <a:gd name="T55" fmla="*/ 153 h 544"/>
                  <a:gd name="T56" fmla="*/ 228 w 452"/>
                  <a:gd name="T57" fmla="*/ 255 h 544"/>
                  <a:gd name="T58" fmla="*/ 244 w 452"/>
                  <a:gd name="T59" fmla="*/ 285 h 544"/>
                  <a:gd name="T60" fmla="*/ 251 w 452"/>
                  <a:gd name="T61" fmla="*/ 265 h 544"/>
                  <a:gd name="T62" fmla="*/ 256 w 452"/>
                  <a:gd name="T63" fmla="*/ 242 h 544"/>
                  <a:gd name="T64" fmla="*/ 285 w 452"/>
                  <a:gd name="T65" fmla="*/ 109 h 544"/>
                  <a:gd name="T66" fmla="*/ 289 w 452"/>
                  <a:gd name="T67" fmla="*/ 0 h 544"/>
                  <a:gd name="T68" fmla="*/ 80 w 452"/>
                  <a:gd name="T69" fmla="*/ 314 h 544"/>
                  <a:gd name="T70" fmla="*/ 80 w 452"/>
                  <a:gd name="T71" fmla="*/ 344 h 544"/>
                  <a:gd name="T72" fmla="*/ 80 w 452"/>
                  <a:gd name="T73" fmla="*/ 383 h 544"/>
                  <a:gd name="T74" fmla="*/ 92 w 452"/>
                  <a:gd name="T75" fmla="*/ 332 h 544"/>
                  <a:gd name="T76" fmla="*/ 92 w 452"/>
                  <a:gd name="T77" fmla="*/ 265 h 544"/>
                  <a:gd name="T78" fmla="*/ 80 w 452"/>
                  <a:gd name="T79" fmla="*/ 314 h 5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52" h="544">
                    <a:moveTo>
                      <a:pt x="289" y="0"/>
                    </a:moveTo>
                    <a:cubicBezTo>
                      <a:pt x="290" y="0"/>
                      <a:pt x="291" y="0"/>
                      <a:pt x="293" y="0"/>
                    </a:cubicBezTo>
                    <a:cubicBezTo>
                      <a:pt x="329" y="13"/>
                      <a:pt x="366" y="25"/>
                      <a:pt x="403" y="35"/>
                    </a:cubicBezTo>
                    <a:cubicBezTo>
                      <a:pt x="405" y="50"/>
                      <a:pt x="411" y="63"/>
                      <a:pt x="413" y="78"/>
                    </a:cubicBezTo>
                    <a:cubicBezTo>
                      <a:pt x="414" y="95"/>
                      <a:pt x="413" y="112"/>
                      <a:pt x="414" y="130"/>
                    </a:cubicBezTo>
                    <a:cubicBezTo>
                      <a:pt x="414" y="142"/>
                      <a:pt x="420" y="152"/>
                      <a:pt x="421" y="163"/>
                    </a:cubicBezTo>
                    <a:cubicBezTo>
                      <a:pt x="422" y="185"/>
                      <a:pt x="421" y="205"/>
                      <a:pt x="424" y="225"/>
                    </a:cubicBezTo>
                    <a:cubicBezTo>
                      <a:pt x="429" y="265"/>
                      <a:pt x="441" y="302"/>
                      <a:pt x="446" y="341"/>
                    </a:cubicBezTo>
                    <a:cubicBezTo>
                      <a:pt x="451" y="384"/>
                      <a:pt x="449" y="426"/>
                      <a:pt x="452" y="475"/>
                    </a:cubicBezTo>
                    <a:cubicBezTo>
                      <a:pt x="450" y="480"/>
                      <a:pt x="443" y="472"/>
                      <a:pt x="439" y="471"/>
                    </a:cubicBezTo>
                    <a:cubicBezTo>
                      <a:pt x="424" y="467"/>
                      <a:pt x="404" y="467"/>
                      <a:pt x="395" y="476"/>
                    </a:cubicBezTo>
                    <a:cubicBezTo>
                      <a:pt x="395" y="489"/>
                      <a:pt x="395" y="500"/>
                      <a:pt x="395" y="513"/>
                    </a:cubicBezTo>
                    <a:cubicBezTo>
                      <a:pt x="375" y="513"/>
                      <a:pt x="357" y="519"/>
                      <a:pt x="340" y="517"/>
                    </a:cubicBezTo>
                    <a:cubicBezTo>
                      <a:pt x="312" y="514"/>
                      <a:pt x="301" y="490"/>
                      <a:pt x="289" y="470"/>
                    </a:cubicBezTo>
                    <a:cubicBezTo>
                      <a:pt x="273" y="443"/>
                      <a:pt x="256" y="400"/>
                      <a:pt x="248" y="372"/>
                    </a:cubicBezTo>
                    <a:cubicBezTo>
                      <a:pt x="238" y="428"/>
                      <a:pt x="235" y="489"/>
                      <a:pt x="206" y="527"/>
                    </a:cubicBezTo>
                    <a:cubicBezTo>
                      <a:pt x="171" y="544"/>
                      <a:pt x="108" y="532"/>
                      <a:pt x="70" y="523"/>
                    </a:cubicBezTo>
                    <a:cubicBezTo>
                      <a:pt x="70" y="515"/>
                      <a:pt x="70" y="506"/>
                      <a:pt x="70" y="499"/>
                    </a:cubicBezTo>
                    <a:cubicBezTo>
                      <a:pt x="63" y="501"/>
                      <a:pt x="61" y="490"/>
                      <a:pt x="56" y="486"/>
                    </a:cubicBezTo>
                    <a:cubicBezTo>
                      <a:pt x="35" y="486"/>
                      <a:pt x="19" y="492"/>
                      <a:pt x="4" y="499"/>
                    </a:cubicBezTo>
                    <a:cubicBezTo>
                      <a:pt x="7" y="454"/>
                      <a:pt x="0" y="410"/>
                      <a:pt x="4" y="364"/>
                    </a:cubicBezTo>
                    <a:cubicBezTo>
                      <a:pt x="4" y="350"/>
                      <a:pt x="10" y="336"/>
                      <a:pt x="12" y="322"/>
                    </a:cubicBezTo>
                    <a:cubicBezTo>
                      <a:pt x="14" y="303"/>
                      <a:pt x="14" y="283"/>
                      <a:pt x="16" y="264"/>
                    </a:cubicBezTo>
                    <a:cubicBezTo>
                      <a:pt x="23" y="218"/>
                      <a:pt x="24" y="170"/>
                      <a:pt x="33" y="124"/>
                    </a:cubicBezTo>
                    <a:cubicBezTo>
                      <a:pt x="40" y="97"/>
                      <a:pt x="41" y="69"/>
                      <a:pt x="49" y="44"/>
                    </a:cubicBezTo>
                    <a:cubicBezTo>
                      <a:pt x="67" y="35"/>
                      <a:pt x="87" y="31"/>
                      <a:pt x="107" y="25"/>
                    </a:cubicBezTo>
                    <a:cubicBezTo>
                      <a:pt x="125" y="17"/>
                      <a:pt x="143" y="9"/>
                      <a:pt x="163" y="4"/>
                    </a:cubicBezTo>
                    <a:cubicBezTo>
                      <a:pt x="175" y="54"/>
                      <a:pt x="184" y="105"/>
                      <a:pt x="196" y="153"/>
                    </a:cubicBezTo>
                    <a:cubicBezTo>
                      <a:pt x="205" y="189"/>
                      <a:pt x="217" y="223"/>
                      <a:pt x="228" y="255"/>
                    </a:cubicBezTo>
                    <a:cubicBezTo>
                      <a:pt x="232" y="265"/>
                      <a:pt x="235" y="279"/>
                      <a:pt x="244" y="285"/>
                    </a:cubicBezTo>
                    <a:cubicBezTo>
                      <a:pt x="251" y="280"/>
                      <a:pt x="249" y="271"/>
                      <a:pt x="251" y="265"/>
                    </a:cubicBezTo>
                    <a:cubicBezTo>
                      <a:pt x="252" y="257"/>
                      <a:pt x="253" y="250"/>
                      <a:pt x="256" y="242"/>
                    </a:cubicBezTo>
                    <a:cubicBezTo>
                      <a:pt x="265" y="196"/>
                      <a:pt x="278" y="154"/>
                      <a:pt x="285" y="109"/>
                    </a:cubicBezTo>
                    <a:cubicBezTo>
                      <a:pt x="290" y="75"/>
                      <a:pt x="286" y="35"/>
                      <a:pt x="289" y="0"/>
                    </a:cubicBezTo>
                    <a:close/>
                    <a:moveTo>
                      <a:pt x="80" y="314"/>
                    </a:moveTo>
                    <a:cubicBezTo>
                      <a:pt x="79" y="323"/>
                      <a:pt x="82" y="334"/>
                      <a:pt x="80" y="344"/>
                    </a:cubicBezTo>
                    <a:cubicBezTo>
                      <a:pt x="80" y="356"/>
                      <a:pt x="76" y="370"/>
                      <a:pt x="80" y="383"/>
                    </a:cubicBezTo>
                    <a:cubicBezTo>
                      <a:pt x="84" y="367"/>
                      <a:pt x="88" y="350"/>
                      <a:pt x="92" y="332"/>
                    </a:cubicBezTo>
                    <a:cubicBezTo>
                      <a:pt x="96" y="313"/>
                      <a:pt x="101" y="281"/>
                      <a:pt x="92" y="265"/>
                    </a:cubicBezTo>
                    <a:cubicBezTo>
                      <a:pt x="91" y="284"/>
                      <a:pt x="83" y="297"/>
                      <a:pt x="80" y="314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79" name="Freeform 163">
                <a:extLst>
                  <a:ext uri="{FF2B5EF4-FFF2-40B4-BE49-F238E27FC236}">
                    <a16:creationId xmlns:a16="http://schemas.microsoft.com/office/drawing/2014/main" id="{ED78F577-7553-497C-B7E7-9084F6AAA5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70225" y="1665292"/>
                <a:ext cx="839790" cy="1258889"/>
              </a:xfrm>
              <a:custGeom>
                <a:avLst/>
                <a:gdLst>
                  <a:gd name="T0" fmla="*/ 160 w 224"/>
                  <a:gd name="T1" fmla="*/ 0 h 336"/>
                  <a:gd name="T2" fmla="*/ 161 w 224"/>
                  <a:gd name="T3" fmla="*/ 0 h 336"/>
                  <a:gd name="T4" fmla="*/ 192 w 224"/>
                  <a:gd name="T5" fmla="*/ 20 h 336"/>
                  <a:gd name="T6" fmla="*/ 219 w 224"/>
                  <a:gd name="T7" fmla="*/ 62 h 336"/>
                  <a:gd name="T8" fmla="*/ 202 w 224"/>
                  <a:gd name="T9" fmla="*/ 79 h 336"/>
                  <a:gd name="T10" fmla="*/ 224 w 224"/>
                  <a:gd name="T11" fmla="*/ 101 h 336"/>
                  <a:gd name="T12" fmla="*/ 224 w 224"/>
                  <a:gd name="T13" fmla="*/ 104 h 336"/>
                  <a:gd name="T14" fmla="*/ 122 w 224"/>
                  <a:gd name="T15" fmla="*/ 336 h 336"/>
                  <a:gd name="T16" fmla="*/ 121 w 224"/>
                  <a:gd name="T17" fmla="*/ 308 h 336"/>
                  <a:gd name="T18" fmla="*/ 2 w 224"/>
                  <a:gd name="T19" fmla="*/ 111 h 336"/>
                  <a:gd name="T20" fmla="*/ 17 w 224"/>
                  <a:gd name="T21" fmla="*/ 84 h 336"/>
                  <a:gd name="T22" fmla="*/ 0 w 224"/>
                  <a:gd name="T23" fmla="*/ 65 h 336"/>
                  <a:gd name="T24" fmla="*/ 0 w 224"/>
                  <a:gd name="T25" fmla="*/ 63 h 336"/>
                  <a:gd name="T26" fmla="*/ 48 w 224"/>
                  <a:gd name="T27" fmla="*/ 8 h 336"/>
                  <a:gd name="T28" fmla="*/ 122 w 224"/>
                  <a:gd name="T29" fmla="*/ 293 h 336"/>
                  <a:gd name="T30" fmla="*/ 160 w 224"/>
                  <a:gd name="T31" fmla="*/ 0 h 3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24" h="336">
                    <a:moveTo>
                      <a:pt x="160" y="0"/>
                    </a:moveTo>
                    <a:cubicBezTo>
                      <a:pt x="160" y="0"/>
                      <a:pt x="160" y="0"/>
                      <a:pt x="161" y="0"/>
                    </a:cubicBezTo>
                    <a:cubicBezTo>
                      <a:pt x="169" y="9"/>
                      <a:pt x="177" y="18"/>
                      <a:pt x="192" y="20"/>
                    </a:cubicBezTo>
                    <a:cubicBezTo>
                      <a:pt x="200" y="35"/>
                      <a:pt x="210" y="48"/>
                      <a:pt x="219" y="62"/>
                    </a:cubicBezTo>
                    <a:cubicBezTo>
                      <a:pt x="217" y="69"/>
                      <a:pt x="206" y="72"/>
                      <a:pt x="202" y="79"/>
                    </a:cubicBezTo>
                    <a:cubicBezTo>
                      <a:pt x="209" y="87"/>
                      <a:pt x="217" y="95"/>
                      <a:pt x="224" y="101"/>
                    </a:cubicBezTo>
                    <a:cubicBezTo>
                      <a:pt x="224" y="102"/>
                      <a:pt x="224" y="104"/>
                      <a:pt x="224" y="104"/>
                    </a:cubicBezTo>
                    <a:cubicBezTo>
                      <a:pt x="197" y="189"/>
                      <a:pt x="160" y="263"/>
                      <a:pt x="122" y="336"/>
                    </a:cubicBezTo>
                    <a:cubicBezTo>
                      <a:pt x="117" y="333"/>
                      <a:pt x="118" y="315"/>
                      <a:pt x="121" y="308"/>
                    </a:cubicBezTo>
                    <a:cubicBezTo>
                      <a:pt x="77" y="247"/>
                      <a:pt x="35" y="184"/>
                      <a:pt x="2" y="111"/>
                    </a:cubicBezTo>
                    <a:cubicBezTo>
                      <a:pt x="6" y="101"/>
                      <a:pt x="12" y="93"/>
                      <a:pt x="17" y="84"/>
                    </a:cubicBezTo>
                    <a:cubicBezTo>
                      <a:pt x="15" y="76"/>
                      <a:pt x="7" y="72"/>
                      <a:pt x="0" y="65"/>
                    </a:cubicBezTo>
                    <a:cubicBezTo>
                      <a:pt x="0" y="65"/>
                      <a:pt x="0" y="64"/>
                      <a:pt x="0" y="63"/>
                    </a:cubicBezTo>
                    <a:cubicBezTo>
                      <a:pt x="16" y="44"/>
                      <a:pt x="25" y="18"/>
                      <a:pt x="48" y="8"/>
                    </a:cubicBezTo>
                    <a:cubicBezTo>
                      <a:pt x="73" y="104"/>
                      <a:pt x="95" y="200"/>
                      <a:pt x="122" y="293"/>
                    </a:cubicBezTo>
                    <a:cubicBezTo>
                      <a:pt x="136" y="198"/>
                      <a:pt x="164" y="114"/>
                      <a:pt x="160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80" name="Freeform 164">
                <a:extLst>
                  <a:ext uri="{FF2B5EF4-FFF2-40B4-BE49-F238E27FC236}">
                    <a16:creationId xmlns:a16="http://schemas.microsoft.com/office/drawing/2014/main" id="{0794D010-A6D8-49F2-B57D-5BDA3EF5EC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9611" y="1619255"/>
                <a:ext cx="165099" cy="330202"/>
              </a:xfrm>
              <a:custGeom>
                <a:avLst/>
                <a:gdLst>
                  <a:gd name="T0" fmla="*/ 0 w 44"/>
                  <a:gd name="T1" fmla="*/ 21 h 88"/>
                  <a:gd name="T2" fmla="*/ 0 w 44"/>
                  <a:gd name="T3" fmla="*/ 21 h 88"/>
                  <a:gd name="T4" fmla="*/ 12 w 44"/>
                  <a:gd name="T5" fmla="*/ 0 h 88"/>
                  <a:gd name="T6" fmla="*/ 44 w 44"/>
                  <a:gd name="T7" fmla="*/ 46 h 88"/>
                  <a:gd name="T8" fmla="*/ 19 w 44"/>
                  <a:gd name="T9" fmla="*/ 88 h 88"/>
                  <a:gd name="T10" fmla="*/ 0 w 44"/>
                  <a:gd name="T11" fmla="*/ 21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88">
                    <a:moveTo>
                      <a:pt x="0" y="21"/>
                    </a:moveTo>
                    <a:cubicBezTo>
                      <a:pt x="0" y="21"/>
                      <a:pt x="0" y="21"/>
                      <a:pt x="0" y="21"/>
                    </a:cubicBezTo>
                    <a:cubicBezTo>
                      <a:pt x="8" y="17"/>
                      <a:pt x="6" y="4"/>
                      <a:pt x="12" y="0"/>
                    </a:cubicBezTo>
                    <a:cubicBezTo>
                      <a:pt x="17" y="21"/>
                      <a:pt x="35" y="28"/>
                      <a:pt x="44" y="46"/>
                    </a:cubicBezTo>
                    <a:cubicBezTo>
                      <a:pt x="32" y="56"/>
                      <a:pt x="35" y="82"/>
                      <a:pt x="19" y="88"/>
                    </a:cubicBezTo>
                    <a:cubicBezTo>
                      <a:pt x="11" y="63"/>
                      <a:pt x="8" y="50"/>
                      <a:pt x="0" y="21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81" name="Freeform 165">
                <a:extLst>
                  <a:ext uri="{FF2B5EF4-FFF2-40B4-BE49-F238E27FC236}">
                    <a16:creationId xmlns:a16="http://schemas.microsoft.com/office/drawing/2014/main" id="{05059780-8AB3-45AA-8549-C148B5F30D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65526" y="1619255"/>
                <a:ext cx="134939" cy="346075"/>
              </a:xfrm>
              <a:custGeom>
                <a:avLst/>
                <a:gdLst>
                  <a:gd name="T0" fmla="*/ 22 w 36"/>
                  <a:gd name="T1" fmla="*/ 0 h 92"/>
                  <a:gd name="T2" fmla="*/ 22 w 36"/>
                  <a:gd name="T3" fmla="*/ 92 h 92"/>
                  <a:gd name="T4" fmla="*/ 0 w 36"/>
                  <a:gd name="T5" fmla="*/ 46 h 92"/>
                  <a:gd name="T6" fmla="*/ 22 w 36"/>
                  <a:gd name="T7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6" h="92">
                    <a:moveTo>
                      <a:pt x="22" y="0"/>
                    </a:moveTo>
                    <a:cubicBezTo>
                      <a:pt x="36" y="13"/>
                      <a:pt x="29" y="69"/>
                      <a:pt x="22" y="92"/>
                    </a:cubicBezTo>
                    <a:cubicBezTo>
                      <a:pt x="3" y="91"/>
                      <a:pt x="8" y="55"/>
                      <a:pt x="0" y="46"/>
                    </a:cubicBezTo>
                    <a:cubicBezTo>
                      <a:pt x="4" y="29"/>
                      <a:pt x="22" y="26"/>
                      <a:pt x="22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82" name="Freeform 166">
                <a:extLst>
                  <a:ext uri="{FF2B5EF4-FFF2-40B4-BE49-F238E27FC236}">
                    <a16:creationId xmlns:a16="http://schemas.microsoft.com/office/drawing/2014/main" id="{AA191258-AC74-4F6E-BFD7-033FDA614D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6274" y="955678"/>
                <a:ext cx="581026" cy="346075"/>
              </a:xfrm>
              <a:custGeom>
                <a:avLst/>
                <a:gdLst>
                  <a:gd name="T0" fmla="*/ 20 w 155"/>
                  <a:gd name="T1" fmla="*/ 49 h 92"/>
                  <a:gd name="T2" fmla="*/ 54 w 155"/>
                  <a:gd name="T3" fmla="*/ 54 h 92"/>
                  <a:gd name="T4" fmla="*/ 98 w 155"/>
                  <a:gd name="T5" fmla="*/ 59 h 92"/>
                  <a:gd name="T6" fmla="*/ 128 w 155"/>
                  <a:gd name="T7" fmla="*/ 67 h 92"/>
                  <a:gd name="T8" fmla="*/ 136 w 155"/>
                  <a:gd name="T9" fmla="*/ 92 h 92"/>
                  <a:gd name="T10" fmla="*/ 105 w 155"/>
                  <a:gd name="T11" fmla="*/ 5 h 92"/>
                  <a:gd name="T12" fmla="*/ 55 w 155"/>
                  <a:gd name="T13" fmla="*/ 4 h 92"/>
                  <a:gd name="T14" fmla="*/ 24 w 155"/>
                  <a:gd name="T15" fmla="*/ 21 h 92"/>
                  <a:gd name="T16" fmla="*/ 0 w 155"/>
                  <a:gd name="T17" fmla="*/ 45 h 92"/>
                  <a:gd name="T18" fmla="*/ 6 w 155"/>
                  <a:gd name="T19" fmla="*/ 91 h 92"/>
                  <a:gd name="T20" fmla="*/ 7 w 155"/>
                  <a:gd name="T21" fmla="*/ 91 h 92"/>
                  <a:gd name="T22" fmla="*/ 20 w 155"/>
                  <a:gd name="T23" fmla="*/ 49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5" h="92">
                    <a:moveTo>
                      <a:pt x="20" y="49"/>
                    </a:moveTo>
                    <a:cubicBezTo>
                      <a:pt x="28" y="48"/>
                      <a:pt x="33" y="47"/>
                      <a:pt x="54" y="54"/>
                    </a:cubicBezTo>
                    <a:cubicBezTo>
                      <a:pt x="75" y="60"/>
                      <a:pt x="90" y="69"/>
                      <a:pt x="98" y="59"/>
                    </a:cubicBezTo>
                    <a:cubicBezTo>
                      <a:pt x="107" y="49"/>
                      <a:pt x="127" y="62"/>
                      <a:pt x="128" y="67"/>
                    </a:cubicBezTo>
                    <a:cubicBezTo>
                      <a:pt x="130" y="73"/>
                      <a:pt x="136" y="92"/>
                      <a:pt x="136" y="92"/>
                    </a:cubicBezTo>
                    <a:cubicBezTo>
                      <a:pt x="155" y="54"/>
                      <a:pt x="132" y="19"/>
                      <a:pt x="105" y="5"/>
                    </a:cubicBezTo>
                    <a:cubicBezTo>
                      <a:pt x="86" y="5"/>
                      <a:pt x="69" y="0"/>
                      <a:pt x="55" y="4"/>
                    </a:cubicBezTo>
                    <a:cubicBezTo>
                      <a:pt x="43" y="6"/>
                      <a:pt x="34" y="15"/>
                      <a:pt x="24" y="21"/>
                    </a:cubicBezTo>
                    <a:cubicBezTo>
                      <a:pt x="15" y="29"/>
                      <a:pt x="4" y="35"/>
                      <a:pt x="0" y="45"/>
                    </a:cubicBezTo>
                    <a:cubicBezTo>
                      <a:pt x="1" y="62"/>
                      <a:pt x="1" y="77"/>
                      <a:pt x="6" y="91"/>
                    </a:cubicBezTo>
                    <a:cubicBezTo>
                      <a:pt x="7" y="91"/>
                      <a:pt x="7" y="91"/>
                      <a:pt x="7" y="91"/>
                    </a:cubicBezTo>
                    <a:cubicBezTo>
                      <a:pt x="9" y="82"/>
                      <a:pt x="14" y="51"/>
                      <a:pt x="20" y="49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83" name="Freeform 167">
                <a:extLst>
                  <a:ext uri="{FF2B5EF4-FFF2-40B4-BE49-F238E27FC236}">
                    <a16:creationId xmlns:a16="http://schemas.microsoft.com/office/drawing/2014/main" id="{F456969B-6675-4288-BEEE-18056B7BAF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16312" y="2133606"/>
                <a:ext cx="71438" cy="96838"/>
              </a:xfrm>
              <a:custGeom>
                <a:avLst/>
                <a:gdLst>
                  <a:gd name="T0" fmla="*/ 5 w 19"/>
                  <a:gd name="T1" fmla="*/ 10 h 26"/>
                  <a:gd name="T2" fmla="*/ 11 w 19"/>
                  <a:gd name="T3" fmla="*/ 2 h 26"/>
                  <a:gd name="T4" fmla="*/ 15 w 19"/>
                  <a:gd name="T5" fmla="*/ 10 h 26"/>
                  <a:gd name="T6" fmla="*/ 0 w 19"/>
                  <a:gd name="T7" fmla="*/ 22 h 26"/>
                  <a:gd name="T8" fmla="*/ 5 w 19"/>
                  <a:gd name="T9" fmla="*/ 1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6">
                    <a:moveTo>
                      <a:pt x="5" y="10"/>
                    </a:moveTo>
                    <a:cubicBezTo>
                      <a:pt x="9" y="6"/>
                      <a:pt x="5" y="0"/>
                      <a:pt x="11" y="2"/>
                    </a:cubicBezTo>
                    <a:cubicBezTo>
                      <a:pt x="16" y="4"/>
                      <a:pt x="19" y="5"/>
                      <a:pt x="15" y="10"/>
                    </a:cubicBezTo>
                    <a:cubicBezTo>
                      <a:pt x="11" y="16"/>
                      <a:pt x="0" y="26"/>
                      <a:pt x="0" y="22"/>
                    </a:cubicBezTo>
                    <a:cubicBezTo>
                      <a:pt x="0" y="19"/>
                      <a:pt x="5" y="10"/>
                      <a:pt x="5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84" name="Freeform 168">
                <a:extLst>
                  <a:ext uri="{FF2B5EF4-FFF2-40B4-BE49-F238E27FC236}">
                    <a16:creationId xmlns:a16="http://schemas.microsoft.com/office/drawing/2014/main" id="{3081A7A6-F330-4C15-A54E-CBE492138A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7261" y="2354269"/>
                <a:ext cx="71438" cy="93661"/>
              </a:xfrm>
              <a:custGeom>
                <a:avLst/>
                <a:gdLst>
                  <a:gd name="T0" fmla="*/ 6 w 19"/>
                  <a:gd name="T1" fmla="*/ 10 h 25"/>
                  <a:gd name="T2" fmla="*/ 11 w 19"/>
                  <a:gd name="T3" fmla="*/ 2 h 25"/>
                  <a:gd name="T4" fmla="*/ 15 w 19"/>
                  <a:gd name="T5" fmla="*/ 10 h 25"/>
                  <a:gd name="T6" fmla="*/ 0 w 19"/>
                  <a:gd name="T7" fmla="*/ 22 h 25"/>
                  <a:gd name="T8" fmla="*/ 6 w 19"/>
                  <a:gd name="T9" fmla="*/ 1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5">
                    <a:moveTo>
                      <a:pt x="6" y="10"/>
                    </a:moveTo>
                    <a:cubicBezTo>
                      <a:pt x="9" y="5"/>
                      <a:pt x="6" y="0"/>
                      <a:pt x="11" y="2"/>
                    </a:cubicBezTo>
                    <a:cubicBezTo>
                      <a:pt x="16" y="4"/>
                      <a:pt x="19" y="4"/>
                      <a:pt x="15" y="10"/>
                    </a:cubicBezTo>
                    <a:cubicBezTo>
                      <a:pt x="11" y="15"/>
                      <a:pt x="0" y="25"/>
                      <a:pt x="0" y="22"/>
                    </a:cubicBezTo>
                    <a:cubicBezTo>
                      <a:pt x="0" y="19"/>
                      <a:pt x="6" y="10"/>
                      <a:pt x="6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85" name="Freeform 169">
                <a:extLst>
                  <a:ext uri="{FF2B5EF4-FFF2-40B4-BE49-F238E27FC236}">
                    <a16:creationId xmlns:a16="http://schemas.microsoft.com/office/drawing/2014/main" id="{6BC0CE6B-3D43-4450-8D03-FAB9919E15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27349" y="2073282"/>
                <a:ext cx="49214" cy="630240"/>
              </a:xfrm>
              <a:custGeom>
                <a:avLst/>
                <a:gdLst>
                  <a:gd name="T0" fmla="*/ 10 w 13"/>
                  <a:gd name="T1" fmla="*/ 168 h 168"/>
                  <a:gd name="T2" fmla="*/ 6 w 13"/>
                  <a:gd name="T3" fmla="*/ 39 h 168"/>
                  <a:gd name="T4" fmla="*/ 6 w 13"/>
                  <a:gd name="T5" fmla="*/ 10 h 168"/>
                  <a:gd name="T6" fmla="*/ 13 w 13"/>
                  <a:gd name="T7" fmla="*/ 10 h 168"/>
                  <a:gd name="T8" fmla="*/ 10 w 13"/>
                  <a:gd name="T9" fmla="*/ 168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68">
                    <a:moveTo>
                      <a:pt x="10" y="168"/>
                    </a:moveTo>
                    <a:cubicBezTo>
                      <a:pt x="10" y="168"/>
                      <a:pt x="11" y="61"/>
                      <a:pt x="6" y="39"/>
                    </a:cubicBezTo>
                    <a:cubicBezTo>
                      <a:pt x="0" y="17"/>
                      <a:pt x="2" y="10"/>
                      <a:pt x="6" y="10"/>
                    </a:cubicBezTo>
                    <a:cubicBezTo>
                      <a:pt x="10" y="10"/>
                      <a:pt x="13" y="0"/>
                      <a:pt x="13" y="10"/>
                    </a:cubicBezTo>
                    <a:cubicBezTo>
                      <a:pt x="13" y="20"/>
                      <a:pt x="10" y="168"/>
                      <a:pt x="10" y="168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86" name="Freeform 170">
                <a:extLst>
                  <a:ext uri="{FF2B5EF4-FFF2-40B4-BE49-F238E27FC236}">
                    <a16:creationId xmlns:a16="http://schemas.microsoft.com/office/drawing/2014/main" id="{3B2EA941-FE51-4A99-8074-3C8E80DC65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06853" y="2106619"/>
                <a:ext cx="98425" cy="1320804"/>
              </a:xfrm>
              <a:custGeom>
                <a:avLst/>
                <a:gdLst>
                  <a:gd name="T0" fmla="*/ 26 w 26"/>
                  <a:gd name="T1" fmla="*/ 352 h 352"/>
                  <a:gd name="T2" fmla="*/ 7 w 26"/>
                  <a:gd name="T3" fmla="*/ 213 h 352"/>
                  <a:gd name="T4" fmla="*/ 7 w 26"/>
                  <a:gd name="T5" fmla="*/ 145 h 352"/>
                  <a:gd name="T6" fmla="*/ 0 w 26"/>
                  <a:gd name="T7" fmla="*/ 30 h 352"/>
                  <a:gd name="T8" fmla="*/ 10 w 26"/>
                  <a:gd name="T9" fmla="*/ 0 h 352"/>
                  <a:gd name="T10" fmla="*/ 10 w 26"/>
                  <a:gd name="T11" fmla="*/ 6 h 352"/>
                  <a:gd name="T12" fmla="*/ 26 w 26"/>
                  <a:gd name="T13" fmla="*/ 352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352">
                    <a:moveTo>
                      <a:pt x="26" y="352"/>
                    </a:moveTo>
                    <a:cubicBezTo>
                      <a:pt x="26" y="347"/>
                      <a:pt x="8" y="236"/>
                      <a:pt x="7" y="213"/>
                    </a:cubicBezTo>
                    <a:cubicBezTo>
                      <a:pt x="6" y="189"/>
                      <a:pt x="9" y="165"/>
                      <a:pt x="7" y="145"/>
                    </a:cubicBezTo>
                    <a:cubicBezTo>
                      <a:pt x="5" y="126"/>
                      <a:pt x="0" y="48"/>
                      <a:pt x="0" y="30"/>
                    </a:cubicBezTo>
                    <a:cubicBezTo>
                      <a:pt x="1" y="12"/>
                      <a:pt x="10" y="0"/>
                      <a:pt x="10" y="0"/>
                    </a:cubicBezTo>
                    <a:cubicBezTo>
                      <a:pt x="10" y="6"/>
                      <a:pt x="10" y="6"/>
                      <a:pt x="10" y="6"/>
                    </a:cubicBezTo>
                    <a:lnTo>
                      <a:pt x="26" y="352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87" name="Freeform 171">
                <a:extLst>
                  <a:ext uri="{FF2B5EF4-FFF2-40B4-BE49-F238E27FC236}">
                    <a16:creationId xmlns:a16="http://schemas.microsoft.com/office/drawing/2014/main" id="{5130F18C-7927-4D5F-93AB-799CF33AC9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0476" y="3135321"/>
                <a:ext cx="222250" cy="58738"/>
              </a:xfrm>
              <a:custGeom>
                <a:avLst/>
                <a:gdLst>
                  <a:gd name="T0" fmla="*/ 0 w 59"/>
                  <a:gd name="T1" fmla="*/ 16 h 16"/>
                  <a:gd name="T2" fmla="*/ 52 w 59"/>
                  <a:gd name="T3" fmla="*/ 7 h 16"/>
                  <a:gd name="T4" fmla="*/ 59 w 59"/>
                  <a:gd name="T5" fmla="*/ 7 h 16"/>
                  <a:gd name="T6" fmla="*/ 0 w 59"/>
                  <a:gd name="T7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9" h="16">
                    <a:moveTo>
                      <a:pt x="0" y="16"/>
                    </a:moveTo>
                    <a:cubicBezTo>
                      <a:pt x="0" y="16"/>
                      <a:pt x="49" y="13"/>
                      <a:pt x="52" y="7"/>
                    </a:cubicBezTo>
                    <a:cubicBezTo>
                      <a:pt x="55" y="0"/>
                      <a:pt x="59" y="3"/>
                      <a:pt x="59" y="7"/>
                    </a:cubicBezTo>
                    <a:cubicBezTo>
                      <a:pt x="58" y="11"/>
                      <a:pt x="0" y="16"/>
                      <a:pt x="0" y="16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88" name="Freeform 172">
                <a:extLst>
                  <a:ext uri="{FF2B5EF4-FFF2-40B4-BE49-F238E27FC236}">
                    <a16:creationId xmlns:a16="http://schemas.microsoft.com/office/drawing/2014/main" id="{750D371F-B58B-41EA-A003-A628C71745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7627" y="3224223"/>
                <a:ext cx="198440" cy="282574"/>
              </a:xfrm>
              <a:custGeom>
                <a:avLst/>
                <a:gdLst>
                  <a:gd name="T0" fmla="*/ 44 w 53"/>
                  <a:gd name="T1" fmla="*/ 0 h 75"/>
                  <a:gd name="T2" fmla="*/ 53 w 53"/>
                  <a:gd name="T3" fmla="*/ 75 h 75"/>
                  <a:gd name="T4" fmla="*/ 24 w 53"/>
                  <a:gd name="T5" fmla="*/ 75 h 75"/>
                  <a:gd name="T6" fmla="*/ 14 w 53"/>
                  <a:gd name="T7" fmla="*/ 69 h 75"/>
                  <a:gd name="T8" fmla="*/ 34 w 53"/>
                  <a:gd name="T9" fmla="*/ 61 h 75"/>
                  <a:gd name="T10" fmla="*/ 22 w 53"/>
                  <a:gd name="T11" fmla="*/ 38 h 75"/>
                  <a:gd name="T12" fmla="*/ 44 w 53"/>
                  <a:gd name="T1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3" h="75">
                    <a:moveTo>
                      <a:pt x="44" y="0"/>
                    </a:moveTo>
                    <a:cubicBezTo>
                      <a:pt x="53" y="75"/>
                      <a:pt x="53" y="75"/>
                      <a:pt x="53" y="75"/>
                    </a:cubicBezTo>
                    <a:cubicBezTo>
                      <a:pt x="24" y="75"/>
                      <a:pt x="24" y="75"/>
                      <a:pt x="24" y="75"/>
                    </a:cubicBezTo>
                    <a:cubicBezTo>
                      <a:pt x="24" y="75"/>
                      <a:pt x="0" y="69"/>
                      <a:pt x="14" y="69"/>
                    </a:cubicBezTo>
                    <a:cubicBezTo>
                      <a:pt x="29" y="68"/>
                      <a:pt x="42" y="73"/>
                      <a:pt x="34" y="61"/>
                    </a:cubicBezTo>
                    <a:cubicBezTo>
                      <a:pt x="27" y="48"/>
                      <a:pt x="6" y="41"/>
                      <a:pt x="22" y="38"/>
                    </a:cubicBezTo>
                    <a:cubicBezTo>
                      <a:pt x="38" y="34"/>
                      <a:pt x="44" y="0"/>
                      <a:pt x="44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89" name="Freeform 173">
                <a:extLst>
                  <a:ext uri="{FF2B5EF4-FFF2-40B4-BE49-F238E27FC236}">
                    <a16:creationId xmlns:a16="http://schemas.microsoft.com/office/drawing/2014/main" id="{26BFF8D5-DC52-49D6-8DD0-54DFECC86E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59122" y="2576519"/>
                <a:ext cx="60324" cy="490537"/>
              </a:xfrm>
              <a:custGeom>
                <a:avLst/>
                <a:gdLst>
                  <a:gd name="T0" fmla="*/ 0 w 38"/>
                  <a:gd name="T1" fmla="*/ 0 h 309"/>
                  <a:gd name="T2" fmla="*/ 29 w 38"/>
                  <a:gd name="T3" fmla="*/ 309 h 309"/>
                  <a:gd name="T4" fmla="*/ 38 w 38"/>
                  <a:gd name="T5" fmla="*/ 293 h 309"/>
                  <a:gd name="T6" fmla="*/ 0 w 38"/>
                  <a:gd name="T7" fmla="*/ 0 h 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8" h="309">
                    <a:moveTo>
                      <a:pt x="0" y="0"/>
                    </a:moveTo>
                    <a:lnTo>
                      <a:pt x="29" y="309"/>
                    </a:lnTo>
                    <a:lnTo>
                      <a:pt x="38" y="29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90" name="Freeform 174">
                <a:extLst>
                  <a:ext uri="{FF2B5EF4-FFF2-40B4-BE49-F238E27FC236}">
                    <a16:creationId xmlns:a16="http://schemas.microsoft.com/office/drawing/2014/main" id="{703F972B-B0D4-49F9-B4BB-262FB3D8E9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157549"/>
                <a:ext cx="288924" cy="93661"/>
              </a:xfrm>
              <a:custGeom>
                <a:avLst/>
                <a:gdLst>
                  <a:gd name="T0" fmla="*/ 0 w 77"/>
                  <a:gd name="T1" fmla="*/ 0 h 25"/>
                  <a:gd name="T2" fmla="*/ 75 w 77"/>
                  <a:gd name="T3" fmla="*/ 10 h 25"/>
                  <a:gd name="T4" fmla="*/ 68 w 77"/>
                  <a:gd name="T5" fmla="*/ 25 h 25"/>
                  <a:gd name="T6" fmla="*/ 0 w 77"/>
                  <a:gd name="T7" fmla="*/ 12 h 25"/>
                  <a:gd name="T8" fmla="*/ 0 w 77"/>
                  <a:gd name="T9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7" h="25">
                    <a:moveTo>
                      <a:pt x="0" y="0"/>
                    </a:moveTo>
                    <a:cubicBezTo>
                      <a:pt x="0" y="0"/>
                      <a:pt x="73" y="9"/>
                      <a:pt x="75" y="10"/>
                    </a:cubicBezTo>
                    <a:cubicBezTo>
                      <a:pt x="77" y="11"/>
                      <a:pt x="68" y="25"/>
                      <a:pt x="68" y="25"/>
                    </a:cubicBezTo>
                    <a:cubicBezTo>
                      <a:pt x="0" y="12"/>
                      <a:pt x="0" y="12"/>
                      <a:pt x="0" y="12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91" name="Freeform 175">
                <a:extLst>
                  <a:ext uri="{FF2B5EF4-FFF2-40B4-BE49-F238E27FC236}">
                    <a16:creationId xmlns:a16="http://schemas.microsoft.com/office/drawing/2014/main" id="{00F1FE43-29C0-4B02-8320-6537BAABE6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333761"/>
                <a:ext cx="242887" cy="236537"/>
              </a:xfrm>
              <a:custGeom>
                <a:avLst/>
                <a:gdLst>
                  <a:gd name="T0" fmla="*/ 65 w 65"/>
                  <a:gd name="T1" fmla="*/ 0 h 63"/>
                  <a:gd name="T2" fmla="*/ 50 w 65"/>
                  <a:gd name="T3" fmla="*/ 60 h 63"/>
                  <a:gd name="T4" fmla="*/ 9 w 65"/>
                  <a:gd name="T5" fmla="*/ 52 h 63"/>
                  <a:gd name="T6" fmla="*/ 18 w 65"/>
                  <a:gd name="T7" fmla="*/ 46 h 63"/>
                  <a:gd name="T8" fmla="*/ 49 w 65"/>
                  <a:gd name="T9" fmla="*/ 46 h 63"/>
                  <a:gd name="T10" fmla="*/ 65 w 65"/>
                  <a:gd name="T11" fmla="*/ 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5" h="63">
                    <a:moveTo>
                      <a:pt x="65" y="0"/>
                    </a:moveTo>
                    <a:cubicBezTo>
                      <a:pt x="50" y="60"/>
                      <a:pt x="50" y="60"/>
                      <a:pt x="50" y="60"/>
                    </a:cubicBezTo>
                    <a:cubicBezTo>
                      <a:pt x="9" y="52"/>
                      <a:pt x="9" y="52"/>
                      <a:pt x="9" y="52"/>
                    </a:cubicBezTo>
                    <a:cubicBezTo>
                      <a:pt x="9" y="52"/>
                      <a:pt x="0" y="47"/>
                      <a:pt x="18" y="46"/>
                    </a:cubicBezTo>
                    <a:cubicBezTo>
                      <a:pt x="36" y="46"/>
                      <a:pt x="48" y="63"/>
                      <a:pt x="49" y="46"/>
                    </a:cubicBezTo>
                    <a:cubicBezTo>
                      <a:pt x="50" y="30"/>
                      <a:pt x="65" y="0"/>
                      <a:pt x="65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92" name="Freeform 176">
                <a:extLst>
                  <a:ext uri="{FF2B5EF4-FFF2-40B4-BE49-F238E27FC236}">
                    <a16:creationId xmlns:a16="http://schemas.microsoft.com/office/drawing/2014/main" id="{72786128-1D8C-481D-8D2A-2A3588D83A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0183" y="2201870"/>
                <a:ext cx="41274" cy="168276"/>
              </a:xfrm>
              <a:custGeom>
                <a:avLst/>
                <a:gdLst>
                  <a:gd name="T0" fmla="*/ 0 w 11"/>
                  <a:gd name="T1" fmla="*/ 0 h 45"/>
                  <a:gd name="T2" fmla="*/ 0 w 11"/>
                  <a:gd name="T3" fmla="*/ 21 h 45"/>
                  <a:gd name="T4" fmla="*/ 2 w 11"/>
                  <a:gd name="T5" fmla="*/ 42 h 45"/>
                  <a:gd name="T6" fmla="*/ 10 w 11"/>
                  <a:gd name="T7" fmla="*/ 5 h 45"/>
                  <a:gd name="T8" fmla="*/ 0 w 11"/>
                  <a:gd name="T9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45">
                    <a:moveTo>
                      <a:pt x="0" y="0"/>
                    </a:moveTo>
                    <a:cubicBezTo>
                      <a:pt x="0" y="5"/>
                      <a:pt x="0" y="13"/>
                      <a:pt x="0" y="21"/>
                    </a:cubicBezTo>
                    <a:cubicBezTo>
                      <a:pt x="1" y="31"/>
                      <a:pt x="2" y="41"/>
                      <a:pt x="2" y="42"/>
                    </a:cubicBezTo>
                    <a:cubicBezTo>
                      <a:pt x="4" y="45"/>
                      <a:pt x="11" y="8"/>
                      <a:pt x="10" y="5"/>
                    </a:cubicBezTo>
                    <a:cubicBezTo>
                      <a:pt x="8" y="2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93" name="Freeform 177">
                <a:extLst>
                  <a:ext uri="{FF2B5EF4-FFF2-40B4-BE49-F238E27FC236}">
                    <a16:creationId xmlns:a16="http://schemas.microsoft.com/office/drawing/2014/main" id="{FA937799-A186-41A7-B8C7-7A787AA090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1758" y="2786069"/>
                <a:ext cx="150812" cy="352425"/>
              </a:xfrm>
              <a:custGeom>
                <a:avLst/>
                <a:gdLst>
                  <a:gd name="T0" fmla="*/ 0 w 40"/>
                  <a:gd name="T1" fmla="*/ 0 h 94"/>
                  <a:gd name="T2" fmla="*/ 20 w 40"/>
                  <a:gd name="T3" fmla="*/ 64 h 94"/>
                  <a:gd name="T4" fmla="*/ 36 w 40"/>
                  <a:gd name="T5" fmla="*/ 82 h 94"/>
                  <a:gd name="T6" fmla="*/ 14 w 40"/>
                  <a:gd name="T7" fmla="*/ 26 h 94"/>
                  <a:gd name="T8" fmla="*/ 0 w 40"/>
                  <a:gd name="T9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94">
                    <a:moveTo>
                      <a:pt x="0" y="0"/>
                    </a:moveTo>
                    <a:cubicBezTo>
                      <a:pt x="0" y="0"/>
                      <a:pt x="12" y="47"/>
                      <a:pt x="20" y="64"/>
                    </a:cubicBezTo>
                    <a:cubicBezTo>
                      <a:pt x="28" y="82"/>
                      <a:pt x="40" y="94"/>
                      <a:pt x="36" y="82"/>
                    </a:cubicBezTo>
                    <a:cubicBezTo>
                      <a:pt x="32" y="69"/>
                      <a:pt x="20" y="36"/>
                      <a:pt x="14" y="26"/>
                    </a:cubicBezTo>
                    <a:cubicBezTo>
                      <a:pt x="9" y="1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94" name="Freeform 178">
                <a:extLst>
                  <a:ext uri="{FF2B5EF4-FFF2-40B4-BE49-F238E27FC236}">
                    <a16:creationId xmlns:a16="http://schemas.microsoft.com/office/drawing/2014/main" id="{18897421-E7DF-4934-8D4F-4E7CFD40F8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9736" y="2860684"/>
                <a:ext cx="49214" cy="247650"/>
              </a:xfrm>
              <a:custGeom>
                <a:avLst/>
                <a:gdLst>
                  <a:gd name="T0" fmla="*/ 0 w 13"/>
                  <a:gd name="T1" fmla="*/ 0 h 66"/>
                  <a:gd name="T2" fmla="*/ 10 w 13"/>
                  <a:gd name="T3" fmla="*/ 31 h 66"/>
                  <a:gd name="T4" fmla="*/ 6 w 13"/>
                  <a:gd name="T5" fmla="*/ 50 h 66"/>
                  <a:gd name="T6" fmla="*/ 0 w 13"/>
                  <a:gd name="T7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66">
                    <a:moveTo>
                      <a:pt x="0" y="0"/>
                    </a:moveTo>
                    <a:cubicBezTo>
                      <a:pt x="0" y="0"/>
                      <a:pt x="13" y="15"/>
                      <a:pt x="10" y="31"/>
                    </a:cubicBezTo>
                    <a:cubicBezTo>
                      <a:pt x="8" y="47"/>
                      <a:pt x="5" y="66"/>
                      <a:pt x="6" y="50"/>
                    </a:cubicBezTo>
                    <a:cubicBezTo>
                      <a:pt x="6" y="3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95" name="Freeform 188">
                <a:extLst>
                  <a:ext uri="{FF2B5EF4-FFF2-40B4-BE49-F238E27FC236}">
                    <a16:creationId xmlns:a16="http://schemas.microsoft.com/office/drawing/2014/main" id="{3617E3A7-8030-4A00-B246-73CA660065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01994" y="1544640"/>
                <a:ext cx="349252" cy="131762"/>
              </a:xfrm>
              <a:custGeom>
                <a:avLst/>
                <a:gdLst>
                  <a:gd name="T0" fmla="*/ 0 w 93"/>
                  <a:gd name="T1" fmla="*/ 0 h 35"/>
                  <a:gd name="T2" fmla="*/ 33 w 93"/>
                  <a:gd name="T3" fmla="*/ 29 h 35"/>
                  <a:gd name="T4" fmla="*/ 68 w 93"/>
                  <a:gd name="T5" fmla="*/ 24 h 35"/>
                  <a:gd name="T6" fmla="*/ 85 w 93"/>
                  <a:gd name="T7" fmla="*/ 7 h 35"/>
                  <a:gd name="T8" fmla="*/ 92 w 93"/>
                  <a:gd name="T9" fmla="*/ 6 h 35"/>
                  <a:gd name="T10" fmla="*/ 85 w 93"/>
                  <a:gd name="T11" fmla="*/ 19 h 35"/>
                  <a:gd name="T12" fmla="*/ 67 w 93"/>
                  <a:gd name="T13" fmla="*/ 32 h 35"/>
                  <a:gd name="T14" fmla="*/ 28 w 93"/>
                  <a:gd name="T15" fmla="*/ 32 h 35"/>
                  <a:gd name="T16" fmla="*/ 0 w 93"/>
                  <a:gd name="T17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3" h="35">
                    <a:moveTo>
                      <a:pt x="0" y="0"/>
                    </a:moveTo>
                    <a:cubicBezTo>
                      <a:pt x="2" y="4"/>
                      <a:pt x="21" y="25"/>
                      <a:pt x="33" y="29"/>
                    </a:cubicBezTo>
                    <a:cubicBezTo>
                      <a:pt x="45" y="32"/>
                      <a:pt x="63" y="29"/>
                      <a:pt x="68" y="24"/>
                    </a:cubicBezTo>
                    <a:cubicBezTo>
                      <a:pt x="73" y="19"/>
                      <a:pt x="84" y="9"/>
                      <a:pt x="85" y="7"/>
                    </a:cubicBezTo>
                    <a:cubicBezTo>
                      <a:pt x="86" y="5"/>
                      <a:pt x="93" y="1"/>
                      <a:pt x="92" y="6"/>
                    </a:cubicBezTo>
                    <a:cubicBezTo>
                      <a:pt x="91" y="10"/>
                      <a:pt x="89" y="14"/>
                      <a:pt x="85" y="19"/>
                    </a:cubicBezTo>
                    <a:cubicBezTo>
                      <a:pt x="82" y="24"/>
                      <a:pt x="75" y="33"/>
                      <a:pt x="67" y="32"/>
                    </a:cubicBezTo>
                    <a:cubicBezTo>
                      <a:pt x="58" y="32"/>
                      <a:pt x="36" y="35"/>
                      <a:pt x="28" y="32"/>
                    </a:cubicBezTo>
                    <a:cubicBezTo>
                      <a:pt x="19" y="3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96" name="Freeform 103">
                <a:extLst>
                  <a:ext uri="{FF2B5EF4-FFF2-40B4-BE49-F238E27FC236}">
                    <a16:creationId xmlns:a16="http://schemas.microsoft.com/office/drawing/2014/main" id="{6726D424-0E79-4A4C-AFD3-FB3BEB1E00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3697" y="1061826"/>
                <a:ext cx="226796" cy="66888"/>
              </a:xfrm>
              <a:custGeom>
                <a:avLst/>
                <a:gdLst>
                  <a:gd name="T0" fmla="*/ 9 w 49"/>
                  <a:gd name="T1" fmla="*/ 1 h 23"/>
                  <a:gd name="T2" fmla="*/ 24 w 49"/>
                  <a:gd name="T3" fmla="*/ 8 h 23"/>
                  <a:gd name="T4" fmla="*/ 31 w 49"/>
                  <a:gd name="T5" fmla="*/ 7 h 23"/>
                  <a:gd name="T6" fmla="*/ 44 w 49"/>
                  <a:gd name="T7" fmla="*/ 17 h 23"/>
                  <a:gd name="T8" fmla="*/ 37 w 49"/>
                  <a:gd name="T9" fmla="*/ 17 h 23"/>
                  <a:gd name="T10" fmla="*/ 13 w 49"/>
                  <a:gd name="T11" fmla="*/ 10 h 23"/>
                  <a:gd name="T12" fmla="*/ 9 w 49"/>
                  <a:gd name="T13" fmla="*/ 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" h="23">
                    <a:moveTo>
                      <a:pt x="9" y="1"/>
                    </a:moveTo>
                    <a:cubicBezTo>
                      <a:pt x="9" y="1"/>
                      <a:pt x="20" y="7"/>
                      <a:pt x="24" y="8"/>
                    </a:cubicBezTo>
                    <a:cubicBezTo>
                      <a:pt x="28" y="9"/>
                      <a:pt x="31" y="9"/>
                      <a:pt x="31" y="7"/>
                    </a:cubicBezTo>
                    <a:cubicBezTo>
                      <a:pt x="31" y="4"/>
                      <a:pt x="40" y="11"/>
                      <a:pt x="44" y="17"/>
                    </a:cubicBezTo>
                    <a:cubicBezTo>
                      <a:pt x="49" y="23"/>
                      <a:pt x="44" y="21"/>
                      <a:pt x="37" y="17"/>
                    </a:cubicBezTo>
                    <a:cubicBezTo>
                      <a:pt x="30" y="13"/>
                      <a:pt x="20" y="15"/>
                      <a:pt x="13" y="10"/>
                    </a:cubicBezTo>
                    <a:cubicBezTo>
                      <a:pt x="6" y="5"/>
                      <a:pt x="0" y="0"/>
                      <a:pt x="9" y="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97" name="Freeform 104">
                <a:extLst>
                  <a:ext uri="{FF2B5EF4-FFF2-40B4-BE49-F238E27FC236}">
                    <a16:creationId xmlns:a16="http://schemas.microsoft.com/office/drawing/2014/main" id="{78CFABA9-CE2C-4FB6-B09B-AE72F7E0D328}"/>
                  </a:ext>
                </a:extLst>
              </p:cNvPr>
              <p:cNvSpPr>
                <a:spLocks/>
              </p:cNvSpPr>
              <p:nvPr/>
            </p:nvSpPr>
            <p:spPr bwMode="auto">
              <a:xfrm rot="18643239">
                <a:off x="3555600" y="1040771"/>
                <a:ext cx="87944" cy="175885"/>
              </a:xfrm>
              <a:custGeom>
                <a:avLst/>
                <a:gdLst>
                  <a:gd name="T0" fmla="*/ 12 w 30"/>
                  <a:gd name="T1" fmla="*/ 25 h 60"/>
                  <a:gd name="T2" fmla="*/ 20 w 30"/>
                  <a:gd name="T3" fmla="*/ 19 h 60"/>
                  <a:gd name="T4" fmla="*/ 22 w 30"/>
                  <a:gd name="T5" fmla="*/ 4 h 60"/>
                  <a:gd name="T6" fmla="*/ 24 w 30"/>
                  <a:gd name="T7" fmla="*/ 26 h 60"/>
                  <a:gd name="T8" fmla="*/ 21 w 30"/>
                  <a:gd name="T9" fmla="*/ 37 h 60"/>
                  <a:gd name="T10" fmla="*/ 14 w 30"/>
                  <a:gd name="T11" fmla="*/ 48 h 60"/>
                  <a:gd name="T12" fmla="*/ 8 w 30"/>
                  <a:gd name="T13" fmla="*/ 35 h 60"/>
                  <a:gd name="T14" fmla="*/ 12 w 30"/>
                  <a:gd name="T15" fmla="*/ 25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60">
                    <a:moveTo>
                      <a:pt x="12" y="25"/>
                    </a:moveTo>
                    <a:cubicBezTo>
                      <a:pt x="12" y="25"/>
                      <a:pt x="17" y="24"/>
                      <a:pt x="20" y="19"/>
                    </a:cubicBezTo>
                    <a:cubicBezTo>
                      <a:pt x="24" y="14"/>
                      <a:pt x="22" y="8"/>
                      <a:pt x="22" y="4"/>
                    </a:cubicBezTo>
                    <a:cubicBezTo>
                      <a:pt x="21" y="0"/>
                      <a:pt x="30" y="16"/>
                      <a:pt x="24" y="26"/>
                    </a:cubicBezTo>
                    <a:cubicBezTo>
                      <a:pt x="24" y="26"/>
                      <a:pt x="21" y="34"/>
                      <a:pt x="21" y="37"/>
                    </a:cubicBezTo>
                    <a:cubicBezTo>
                      <a:pt x="21" y="40"/>
                      <a:pt x="20" y="46"/>
                      <a:pt x="14" y="48"/>
                    </a:cubicBezTo>
                    <a:cubicBezTo>
                      <a:pt x="8" y="50"/>
                      <a:pt x="0" y="60"/>
                      <a:pt x="8" y="35"/>
                    </a:cubicBezTo>
                    <a:lnTo>
                      <a:pt x="12" y="25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  <p:sp>
          <p:nvSpPr>
            <p:cNvPr id="425" name="AutoShape 25">
              <a:extLst>
                <a:ext uri="{FF2B5EF4-FFF2-40B4-BE49-F238E27FC236}">
                  <a16:creationId xmlns:a16="http://schemas.microsoft.com/office/drawing/2014/main" id="{40602297-5C25-4E3D-A62F-4A1272E4B933}"/>
                </a:ext>
              </a:extLst>
            </p:cNvPr>
            <p:cNvSpPr>
              <a:spLocks noChangeArrowheads="1"/>
            </p:cNvSpPr>
            <p:nvPr/>
          </p:nvSpPr>
          <p:spPr bwMode="gray">
            <a:xfrm rot="186187" flipH="1">
              <a:off x="2537834" y="3836563"/>
              <a:ext cx="158292" cy="327738"/>
            </a:xfrm>
            <a:custGeom>
              <a:avLst/>
              <a:gdLst>
                <a:gd name="T0" fmla="*/ 794460491 w 792"/>
                <a:gd name="T1" fmla="*/ 729941208 h 2536"/>
                <a:gd name="T2" fmla="*/ 794460491 w 792"/>
                <a:gd name="T3" fmla="*/ 729941208 h 2536"/>
                <a:gd name="T4" fmla="*/ 794460491 w 792"/>
                <a:gd name="T5" fmla="*/ 729941208 h 2536"/>
                <a:gd name="T6" fmla="*/ 794460491 w 792"/>
                <a:gd name="T7" fmla="*/ 729941208 h 2536"/>
                <a:gd name="T8" fmla="*/ 794460491 w 792"/>
                <a:gd name="T9" fmla="*/ 729941208 h 2536"/>
                <a:gd name="T10" fmla="*/ 794460491 w 792"/>
                <a:gd name="T11" fmla="*/ 729941208 h 2536"/>
                <a:gd name="T12" fmla="*/ 794460491 w 792"/>
                <a:gd name="T13" fmla="*/ 729941208 h 2536"/>
                <a:gd name="T14" fmla="*/ 794460491 w 792"/>
                <a:gd name="T15" fmla="*/ 729941208 h 2536"/>
                <a:gd name="T16" fmla="*/ 794460491 w 792"/>
                <a:gd name="T17" fmla="*/ 729941208 h 2536"/>
                <a:gd name="T18" fmla="*/ 794460491 w 792"/>
                <a:gd name="T19" fmla="*/ 729941208 h 2536"/>
                <a:gd name="T20" fmla="*/ 794460491 w 792"/>
                <a:gd name="T21" fmla="*/ 729941208 h 2536"/>
                <a:gd name="T22" fmla="*/ 794460491 w 792"/>
                <a:gd name="T23" fmla="*/ 729941208 h 2536"/>
                <a:gd name="T24" fmla="*/ 794460491 w 792"/>
                <a:gd name="T25" fmla="*/ 729941208 h 2536"/>
                <a:gd name="T26" fmla="*/ 794460491 w 792"/>
                <a:gd name="T27" fmla="*/ 729941208 h 2536"/>
                <a:gd name="T28" fmla="*/ 0 w 792"/>
                <a:gd name="T29" fmla="*/ 729941208 h 2536"/>
                <a:gd name="T30" fmla="*/ 794460491 w 792"/>
                <a:gd name="T31" fmla="*/ 729941208 h 2536"/>
                <a:gd name="T32" fmla="*/ 794460491 w 792"/>
                <a:gd name="T33" fmla="*/ 729941208 h 2536"/>
                <a:gd name="T34" fmla="*/ 794460491 w 792"/>
                <a:gd name="T35" fmla="*/ 729941208 h 2536"/>
                <a:gd name="T36" fmla="*/ 794460491 w 792"/>
                <a:gd name="T37" fmla="*/ 729941208 h 2536"/>
                <a:gd name="T38" fmla="*/ 794460491 w 792"/>
                <a:gd name="T39" fmla="*/ 729941208 h 2536"/>
                <a:gd name="T40" fmla="*/ 794460491 w 792"/>
                <a:gd name="T41" fmla="*/ 729941208 h 2536"/>
                <a:gd name="T42" fmla="*/ 794460491 w 792"/>
                <a:gd name="T43" fmla="*/ 729941208 h 2536"/>
                <a:gd name="T44" fmla="*/ 794460491 w 792"/>
                <a:gd name="T45" fmla="*/ 729941208 h 2536"/>
                <a:gd name="T46" fmla="*/ 794460491 w 792"/>
                <a:gd name="T47" fmla="*/ 729941208 h 2536"/>
                <a:gd name="T48" fmla="*/ 794460491 w 792"/>
                <a:gd name="T49" fmla="*/ 729941208 h 2536"/>
                <a:gd name="T50" fmla="*/ 794460491 w 792"/>
                <a:gd name="T51" fmla="*/ 729941208 h 2536"/>
                <a:gd name="T52" fmla="*/ 794460491 w 792"/>
                <a:gd name="T53" fmla="*/ 729941208 h 2536"/>
                <a:gd name="T54" fmla="*/ 794460491 w 792"/>
                <a:gd name="T55" fmla="*/ 729941208 h 2536"/>
                <a:gd name="T56" fmla="*/ 794460491 w 792"/>
                <a:gd name="T57" fmla="*/ 729941208 h 2536"/>
                <a:gd name="T58" fmla="*/ 794460491 w 792"/>
                <a:gd name="T59" fmla="*/ 729941208 h 2536"/>
                <a:gd name="T60" fmla="*/ 794460491 w 792"/>
                <a:gd name="T61" fmla="*/ 729941208 h 2536"/>
                <a:gd name="T62" fmla="*/ 794460491 w 792"/>
                <a:gd name="T63" fmla="*/ 729941208 h 2536"/>
                <a:gd name="T64" fmla="*/ 794460491 w 792"/>
                <a:gd name="T65" fmla="*/ 729941208 h 2536"/>
                <a:gd name="T66" fmla="*/ 794460491 w 792"/>
                <a:gd name="T67" fmla="*/ 729941208 h 2536"/>
                <a:gd name="T68" fmla="*/ 794460491 w 792"/>
                <a:gd name="T69" fmla="*/ 729941208 h 2536"/>
                <a:gd name="T70" fmla="*/ 794460491 w 792"/>
                <a:gd name="T71" fmla="*/ 729941208 h 2536"/>
                <a:gd name="T72" fmla="*/ 794460491 w 792"/>
                <a:gd name="T73" fmla="*/ 729941208 h 2536"/>
                <a:gd name="T74" fmla="*/ 794460491 w 792"/>
                <a:gd name="T75" fmla="*/ 729941208 h 2536"/>
                <a:gd name="T76" fmla="*/ 794460491 w 792"/>
                <a:gd name="T77" fmla="*/ 729941208 h 2536"/>
                <a:gd name="T78" fmla="*/ 794460491 w 792"/>
                <a:gd name="T79" fmla="*/ 729941208 h 2536"/>
                <a:gd name="T80" fmla="*/ 794460491 w 792"/>
                <a:gd name="T81" fmla="*/ 729941208 h 2536"/>
                <a:gd name="T82" fmla="*/ 794460491 w 792"/>
                <a:gd name="T83" fmla="*/ 729941208 h 2536"/>
                <a:gd name="T84" fmla="*/ 794460491 w 792"/>
                <a:gd name="T85" fmla="*/ 729941208 h 2536"/>
                <a:gd name="T86" fmla="*/ 794460491 w 792"/>
                <a:gd name="T87" fmla="*/ 729941208 h 2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792"/>
                <a:gd name="T133" fmla="*/ 0 h 2536"/>
                <a:gd name="T134" fmla="*/ 792 w 792"/>
                <a:gd name="T135" fmla="*/ 2536 h 2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792" h="2536">
                  <a:moveTo>
                    <a:pt x="752" y="900"/>
                  </a:moveTo>
                  <a:cubicBezTo>
                    <a:pt x="752" y="888"/>
                    <a:pt x="744" y="880"/>
                    <a:pt x="740" y="872"/>
                  </a:cubicBezTo>
                  <a:cubicBezTo>
                    <a:pt x="720" y="760"/>
                    <a:pt x="736" y="656"/>
                    <a:pt x="724" y="548"/>
                  </a:cubicBezTo>
                  <a:cubicBezTo>
                    <a:pt x="724" y="524"/>
                    <a:pt x="724" y="500"/>
                    <a:pt x="716" y="480"/>
                  </a:cubicBezTo>
                  <a:cubicBezTo>
                    <a:pt x="712" y="472"/>
                    <a:pt x="704" y="464"/>
                    <a:pt x="696" y="456"/>
                  </a:cubicBezTo>
                  <a:cubicBezTo>
                    <a:pt x="688" y="452"/>
                    <a:pt x="668" y="452"/>
                    <a:pt x="672" y="444"/>
                  </a:cubicBezTo>
                  <a:cubicBezTo>
                    <a:pt x="688" y="332"/>
                    <a:pt x="664" y="224"/>
                    <a:pt x="656" y="116"/>
                  </a:cubicBezTo>
                  <a:cubicBezTo>
                    <a:pt x="652" y="56"/>
                    <a:pt x="600" y="0"/>
                    <a:pt x="532" y="8"/>
                  </a:cubicBezTo>
                  <a:cubicBezTo>
                    <a:pt x="512" y="12"/>
                    <a:pt x="492" y="16"/>
                    <a:pt x="472" y="32"/>
                  </a:cubicBezTo>
                  <a:cubicBezTo>
                    <a:pt x="440" y="60"/>
                    <a:pt x="416" y="88"/>
                    <a:pt x="400" y="124"/>
                  </a:cubicBezTo>
                  <a:cubicBezTo>
                    <a:pt x="392" y="148"/>
                    <a:pt x="380" y="164"/>
                    <a:pt x="372" y="188"/>
                  </a:cubicBezTo>
                  <a:cubicBezTo>
                    <a:pt x="364" y="212"/>
                    <a:pt x="364" y="232"/>
                    <a:pt x="360" y="256"/>
                  </a:cubicBezTo>
                  <a:cubicBezTo>
                    <a:pt x="356" y="272"/>
                    <a:pt x="364" y="284"/>
                    <a:pt x="364" y="296"/>
                  </a:cubicBezTo>
                  <a:cubicBezTo>
                    <a:pt x="364" y="352"/>
                    <a:pt x="308" y="388"/>
                    <a:pt x="264" y="416"/>
                  </a:cubicBezTo>
                  <a:cubicBezTo>
                    <a:pt x="240" y="432"/>
                    <a:pt x="204" y="428"/>
                    <a:pt x="184" y="452"/>
                  </a:cubicBezTo>
                  <a:cubicBezTo>
                    <a:pt x="144" y="496"/>
                    <a:pt x="160" y="556"/>
                    <a:pt x="144" y="608"/>
                  </a:cubicBezTo>
                  <a:cubicBezTo>
                    <a:pt x="144" y="612"/>
                    <a:pt x="156" y="616"/>
                    <a:pt x="152" y="628"/>
                  </a:cubicBezTo>
                  <a:cubicBezTo>
                    <a:pt x="148" y="696"/>
                    <a:pt x="156" y="764"/>
                    <a:pt x="140" y="832"/>
                  </a:cubicBezTo>
                  <a:cubicBezTo>
                    <a:pt x="128" y="876"/>
                    <a:pt x="120" y="916"/>
                    <a:pt x="116" y="960"/>
                  </a:cubicBezTo>
                  <a:cubicBezTo>
                    <a:pt x="112" y="1024"/>
                    <a:pt x="116" y="1088"/>
                    <a:pt x="116" y="1152"/>
                  </a:cubicBezTo>
                  <a:cubicBezTo>
                    <a:pt x="116" y="1212"/>
                    <a:pt x="108" y="1272"/>
                    <a:pt x="96" y="1336"/>
                  </a:cubicBezTo>
                  <a:cubicBezTo>
                    <a:pt x="92" y="1360"/>
                    <a:pt x="104" y="1384"/>
                    <a:pt x="120" y="1404"/>
                  </a:cubicBezTo>
                  <a:cubicBezTo>
                    <a:pt x="136" y="1424"/>
                    <a:pt x="164" y="1432"/>
                    <a:pt x="188" y="1436"/>
                  </a:cubicBezTo>
                  <a:cubicBezTo>
                    <a:pt x="192" y="1436"/>
                    <a:pt x="196" y="1440"/>
                    <a:pt x="196" y="1444"/>
                  </a:cubicBezTo>
                  <a:cubicBezTo>
                    <a:pt x="192" y="1540"/>
                    <a:pt x="192" y="1636"/>
                    <a:pt x="180" y="1736"/>
                  </a:cubicBezTo>
                  <a:cubicBezTo>
                    <a:pt x="180" y="1744"/>
                    <a:pt x="188" y="1748"/>
                    <a:pt x="188" y="1752"/>
                  </a:cubicBezTo>
                  <a:cubicBezTo>
                    <a:pt x="188" y="1820"/>
                    <a:pt x="152" y="1884"/>
                    <a:pt x="148" y="1956"/>
                  </a:cubicBezTo>
                  <a:cubicBezTo>
                    <a:pt x="144" y="2056"/>
                    <a:pt x="156" y="2152"/>
                    <a:pt x="148" y="2252"/>
                  </a:cubicBezTo>
                  <a:cubicBezTo>
                    <a:pt x="148" y="2316"/>
                    <a:pt x="120" y="2376"/>
                    <a:pt x="88" y="2432"/>
                  </a:cubicBezTo>
                  <a:cubicBezTo>
                    <a:pt x="64" y="2468"/>
                    <a:pt x="24" y="2484"/>
                    <a:pt x="0" y="2516"/>
                  </a:cubicBezTo>
                  <a:cubicBezTo>
                    <a:pt x="52" y="2512"/>
                    <a:pt x="104" y="2516"/>
                    <a:pt x="152" y="2492"/>
                  </a:cubicBezTo>
                  <a:cubicBezTo>
                    <a:pt x="148" y="2460"/>
                    <a:pt x="180" y="2424"/>
                    <a:pt x="208" y="2424"/>
                  </a:cubicBezTo>
                  <a:cubicBezTo>
                    <a:pt x="224" y="2428"/>
                    <a:pt x="204" y="2460"/>
                    <a:pt x="220" y="2476"/>
                  </a:cubicBezTo>
                  <a:cubicBezTo>
                    <a:pt x="220" y="2448"/>
                    <a:pt x="224" y="2420"/>
                    <a:pt x="244" y="2396"/>
                  </a:cubicBezTo>
                  <a:cubicBezTo>
                    <a:pt x="268" y="2372"/>
                    <a:pt x="248" y="2336"/>
                    <a:pt x="224" y="2312"/>
                  </a:cubicBezTo>
                  <a:cubicBezTo>
                    <a:pt x="224" y="2308"/>
                    <a:pt x="221" y="2300"/>
                    <a:pt x="220" y="2292"/>
                  </a:cubicBezTo>
                  <a:cubicBezTo>
                    <a:pt x="216" y="2244"/>
                    <a:pt x="224" y="2196"/>
                    <a:pt x="236" y="2144"/>
                  </a:cubicBezTo>
                  <a:cubicBezTo>
                    <a:pt x="244" y="2084"/>
                    <a:pt x="264" y="2032"/>
                    <a:pt x="280" y="1972"/>
                  </a:cubicBezTo>
                  <a:cubicBezTo>
                    <a:pt x="296" y="1916"/>
                    <a:pt x="284" y="1856"/>
                    <a:pt x="304" y="1800"/>
                  </a:cubicBezTo>
                  <a:cubicBezTo>
                    <a:pt x="308" y="1784"/>
                    <a:pt x="312" y="1760"/>
                    <a:pt x="328" y="1752"/>
                  </a:cubicBezTo>
                  <a:cubicBezTo>
                    <a:pt x="352" y="1740"/>
                    <a:pt x="380" y="1740"/>
                    <a:pt x="404" y="1744"/>
                  </a:cubicBezTo>
                  <a:cubicBezTo>
                    <a:pt x="432" y="1744"/>
                    <a:pt x="460" y="1748"/>
                    <a:pt x="488" y="1752"/>
                  </a:cubicBezTo>
                  <a:cubicBezTo>
                    <a:pt x="500" y="1756"/>
                    <a:pt x="504" y="1768"/>
                    <a:pt x="508" y="1780"/>
                  </a:cubicBezTo>
                  <a:cubicBezTo>
                    <a:pt x="512" y="1840"/>
                    <a:pt x="496" y="1896"/>
                    <a:pt x="488" y="1956"/>
                  </a:cubicBezTo>
                  <a:cubicBezTo>
                    <a:pt x="484" y="2024"/>
                    <a:pt x="496" y="2092"/>
                    <a:pt x="480" y="2164"/>
                  </a:cubicBezTo>
                  <a:cubicBezTo>
                    <a:pt x="476" y="2192"/>
                    <a:pt x="476" y="2220"/>
                    <a:pt x="468" y="2248"/>
                  </a:cubicBezTo>
                  <a:cubicBezTo>
                    <a:pt x="460" y="2272"/>
                    <a:pt x="448" y="2292"/>
                    <a:pt x="444" y="2320"/>
                  </a:cubicBezTo>
                  <a:cubicBezTo>
                    <a:pt x="440" y="2328"/>
                    <a:pt x="428" y="2328"/>
                    <a:pt x="428" y="2340"/>
                  </a:cubicBezTo>
                  <a:cubicBezTo>
                    <a:pt x="424" y="2352"/>
                    <a:pt x="420" y="2364"/>
                    <a:pt x="420" y="2376"/>
                  </a:cubicBezTo>
                  <a:cubicBezTo>
                    <a:pt x="424" y="2392"/>
                    <a:pt x="440" y="2404"/>
                    <a:pt x="444" y="2416"/>
                  </a:cubicBezTo>
                  <a:cubicBezTo>
                    <a:pt x="452" y="2432"/>
                    <a:pt x="452" y="2452"/>
                    <a:pt x="448" y="2468"/>
                  </a:cubicBezTo>
                  <a:cubicBezTo>
                    <a:pt x="444" y="2476"/>
                    <a:pt x="436" y="2488"/>
                    <a:pt x="444" y="2496"/>
                  </a:cubicBezTo>
                  <a:cubicBezTo>
                    <a:pt x="480" y="2524"/>
                    <a:pt x="564" y="2536"/>
                    <a:pt x="552" y="2472"/>
                  </a:cubicBezTo>
                  <a:cubicBezTo>
                    <a:pt x="540" y="2432"/>
                    <a:pt x="512" y="2392"/>
                    <a:pt x="516" y="2348"/>
                  </a:cubicBezTo>
                  <a:cubicBezTo>
                    <a:pt x="516" y="2312"/>
                    <a:pt x="520" y="2276"/>
                    <a:pt x="532" y="2240"/>
                  </a:cubicBezTo>
                  <a:cubicBezTo>
                    <a:pt x="596" y="2088"/>
                    <a:pt x="640" y="1932"/>
                    <a:pt x="624" y="1768"/>
                  </a:cubicBezTo>
                  <a:cubicBezTo>
                    <a:pt x="652" y="1744"/>
                    <a:pt x="696" y="1748"/>
                    <a:pt x="732" y="1748"/>
                  </a:cubicBezTo>
                  <a:cubicBezTo>
                    <a:pt x="736" y="1640"/>
                    <a:pt x="708" y="1536"/>
                    <a:pt x="724" y="1428"/>
                  </a:cubicBezTo>
                  <a:cubicBezTo>
                    <a:pt x="728" y="1408"/>
                    <a:pt x="756" y="1416"/>
                    <a:pt x="768" y="1404"/>
                  </a:cubicBezTo>
                  <a:cubicBezTo>
                    <a:pt x="784" y="1392"/>
                    <a:pt x="792" y="1368"/>
                    <a:pt x="792" y="1356"/>
                  </a:cubicBezTo>
                  <a:cubicBezTo>
                    <a:pt x="740" y="1204"/>
                    <a:pt x="784" y="1060"/>
                    <a:pt x="752" y="900"/>
                  </a:cubicBezTo>
                  <a:close/>
                  <a:moveTo>
                    <a:pt x="208" y="1272"/>
                  </a:moveTo>
                  <a:cubicBezTo>
                    <a:pt x="200" y="1316"/>
                    <a:pt x="200" y="1364"/>
                    <a:pt x="200" y="1408"/>
                  </a:cubicBezTo>
                  <a:cubicBezTo>
                    <a:pt x="200" y="1416"/>
                    <a:pt x="204" y="1432"/>
                    <a:pt x="192" y="1428"/>
                  </a:cubicBezTo>
                  <a:cubicBezTo>
                    <a:pt x="176" y="1428"/>
                    <a:pt x="172" y="1420"/>
                    <a:pt x="160" y="1408"/>
                  </a:cubicBezTo>
                  <a:cubicBezTo>
                    <a:pt x="160" y="1404"/>
                    <a:pt x="160" y="1400"/>
                    <a:pt x="160" y="1396"/>
                  </a:cubicBezTo>
                  <a:cubicBezTo>
                    <a:pt x="148" y="1400"/>
                    <a:pt x="140" y="1388"/>
                    <a:pt x="136" y="1376"/>
                  </a:cubicBezTo>
                  <a:cubicBezTo>
                    <a:pt x="128" y="1356"/>
                    <a:pt x="132" y="1324"/>
                    <a:pt x="148" y="1324"/>
                  </a:cubicBezTo>
                  <a:cubicBezTo>
                    <a:pt x="172" y="1320"/>
                    <a:pt x="164" y="1364"/>
                    <a:pt x="172" y="1384"/>
                  </a:cubicBezTo>
                  <a:cubicBezTo>
                    <a:pt x="176" y="1388"/>
                    <a:pt x="180" y="1388"/>
                    <a:pt x="184" y="1388"/>
                  </a:cubicBezTo>
                  <a:cubicBezTo>
                    <a:pt x="180" y="1352"/>
                    <a:pt x="184" y="1312"/>
                    <a:pt x="176" y="1276"/>
                  </a:cubicBezTo>
                  <a:cubicBezTo>
                    <a:pt x="172" y="1252"/>
                    <a:pt x="152" y="1236"/>
                    <a:pt x="156" y="1208"/>
                  </a:cubicBezTo>
                  <a:cubicBezTo>
                    <a:pt x="180" y="1060"/>
                    <a:pt x="224" y="928"/>
                    <a:pt x="232" y="780"/>
                  </a:cubicBezTo>
                  <a:cubicBezTo>
                    <a:pt x="232" y="756"/>
                    <a:pt x="224" y="724"/>
                    <a:pt x="248" y="712"/>
                  </a:cubicBezTo>
                  <a:cubicBezTo>
                    <a:pt x="264" y="704"/>
                    <a:pt x="257" y="732"/>
                    <a:pt x="260" y="744"/>
                  </a:cubicBezTo>
                  <a:cubicBezTo>
                    <a:pt x="304" y="928"/>
                    <a:pt x="224" y="1092"/>
                    <a:pt x="208" y="1272"/>
                  </a:cubicBezTo>
                  <a:close/>
                  <a:moveTo>
                    <a:pt x="656" y="876"/>
                  </a:moveTo>
                  <a:cubicBezTo>
                    <a:pt x="656" y="888"/>
                    <a:pt x="641" y="882"/>
                    <a:pt x="632" y="876"/>
                  </a:cubicBezTo>
                  <a:cubicBezTo>
                    <a:pt x="620" y="868"/>
                    <a:pt x="620" y="852"/>
                    <a:pt x="624" y="844"/>
                  </a:cubicBezTo>
                  <a:cubicBezTo>
                    <a:pt x="632" y="824"/>
                    <a:pt x="624" y="800"/>
                    <a:pt x="616" y="780"/>
                  </a:cubicBezTo>
                  <a:cubicBezTo>
                    <a:pt x="608" y="764"/>
                    <a:pt x="608" y="744"/>
                    <a:pt x="624" y="728"/>
                  </a:cubicBezTo>
                  <a:cubicBezTo>
                    <a:pt x="628" y="728"/>
                    <a:pt x="632" y="728"/>
                    <a:pt x="636" y="728"/>
                  </a:cubicBezTo>
                  <a:cubicBezTo>
                    <a:pt x="664" y="776"/>
                    <a:pt x="660" y="828"/>
                    <a:pt x="656" y="876"/>
                  </a:cubicBezTo>
                  <a:close/>
                  <a:moveTo>
                    <a:pt x="728" y="1400"/>
                  </a:moveTo>
                  <a:cubicBezTo>
                    <a:pt x="724" y="1400"/>
                    <a:pt x="716" y="1392"/>
                    <a:pt x="720" y="1384"/>
                  </a:cubicBezTo>
                  <a:cubicBezTo>
                    <a:pt x="728" y="1364"/>
                    <a:pt x="716" y="1332"/>
                    <a:pt x="748" y="1332"/>
                  </a:cubicBezTo>
                  <a:cubicBezTo>
                    <a:pt x="752" y="1332"/>
                    <a:pt x="752" y="1341"/>
                    <a:pt x="756" y="1348"/>
                  </a:cubicBezTo>
                  <a:cubicBezTo>
                    <a:pt x="768" y="1372"/>
                    <a:pt x="756" y="1400"/>
                    <a:pt x="728" y="1400"/>
                  </a:cubicBezTo>
                  <a:close/>
                </a:path>
              </a:pathLst>
            </a:custGeom>
            <a:solidFill>
              <a:schemeClr val="tx1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  <p:txBody>
            <a:bodyPr lIns="428085" tIns="214043" rIns="428085" bIns="214043"/>
            <a:lstStyle/>
            <a:p>
              <a:pPr defTabSz="4280855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6000" kern="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6" name="AutoShape 22">
              <a:extLst>
                <a:ext uri="{FF2B5EF4-FFF2-40B4-BE49-F238E27FC236}">
                  <a16:creationId xmlns:a16="http://schemas.microsoft.com/office/drawing/2014/main" id="{A51D8B37-8E0B-4AED-9E68-4E5DD4B369B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642731" y="3820290"/>
              <a:ext cx="139736" cy="340227"/>
            </a:xfrm>
            <a:custGeom>
              <a:avLst/>
              <a:gdLst>
                <a:gd name="T0" fmla="*/ 808464432 w 680"/>
                <a:gd name="T1" fmla="*/ 813928491 h 2335"/>
                <a:gd name="T2" fmla="*/ 808464432 w 680"/>
                <a:gd name="T3" fmla="*/ 813928491 h 2335"/>
                <a:gd name="T4" fmla="*/ 808464432 w 680"/>
                <a:gd name="T5" fmla="*/ 813928491 h 2335"/>
                <a:gd name="T6" fmla="*/ 808464432 w 680"/>
                <a:gd name="T7" fmla="*/ 813928491 h 2335"/>
                <a:gd name="T8" fmla="*/ 808464432 w 680"/>
                <a:gd name="T9" fmla="*/ 813928491 h 2335"/>
                <a:gd name="T10" fmla="*/ 808464432 w 680"/>
                <a:gd name="T11" fmla="*/ 813928491 h 2335"/>
                <a:gd name="T12" fmla="*/ 808464432 w 680"/>
                <a:gd name="T13" fmla="*/ 813928491 h 2335"/>
                <a:gd name="T14" fmla="*/ 808464432 w 680"/>
                <a:gd name="T15" fmla="*/ 813928491 h 2335"/>
                <a:gd name="T16" fmla="*/ 808464432 w 680"/>
                <a:gd name="T17" fmla="*/ 813928491 h 2335"/>
                <a:gd name="T18" fmla="*/ 808464432 w 680"/>
                <a:gd name="T19" fmla="*/ 813928491 h 2335"/>
                <a:gd name="T20" fmla="*/ 808464432 w 680"/>
                <a:gd name="T21" fmla="*/ 813928491 h 2335"/>
                <a:gd name="T22" fmla="*/ 808464432 w 680"/>
                <a:gd name="T23" fmla="*/ 813928491 h 2335"/>
                <a:gd name="T24" fmla="*/ 808464432 w 680"/>
                <a:gd name="T25" fmla="*/ 813928491 h 2335"/>
                <a:gd name="T26" fmla="*/ 808464432 w 680"/>
                <a:gd name="T27" fmla="*/ 813928491 h 2335"/>
                <a:gd name="T28" fmla="*/ 808464432 w 680"/>
                <a:gd name="T29" fmla="*/ 813928491 h 2335"/>
                <a:gd name="T30" fmla="*/ 808464432 w 680"/>
                <a:gd name="T31" fmla="*/ 813928491 h 2335"/>
                <a:gd name="T32" fmla="*/ 808464432 w 680"/>
                <a:gd name="T33" fmla="*/ 813928491 h 2335"/>
                <a:gd name="T34" fmla="*/ 808464432 w 680"/>
                <a:gd name="T35" fmla="*/ 813928491 h 2335"/>
                <a:gd name="T36" fmla="*/ 808464432 w 680"/>
                <a:gd name="T37" fmla="*/ 813928491 h 2335"/>
                <a:gd name="T38" fmla="*/ 808464432 w 680"/>
                <a:gd name="T39" fmla="*/ 813928491 h 2335"/>
                <a:gd name="T40" fmla="*/ 808464432 w 680"/>
                <a:gd name="T41" fmla="*/ 813928491 h 2335"/>
                <a:gd name="T42" fmla="*/ 808464432 w 680"/>
                <a:gd name="T43" fmla="*/ 813928491 h 2335"/>
                <a:gd name="T44" fmla="*/ 808464432 w 680"/>
                <a:gd name="T45" fmla="*/ 813928491 h 2335"/>
                <a:gd name="T46" fmla="*/ 808464432 w 680"/>
                <a:gd name="T47" fmla="*/ 813928491 h 2335"/>
                <a:gd name="T48" fmla="*/ 808464432 w 680"/>
                <a:gd name="T49" fmla="*/ 813928491 h 2335"/>
                <a:gd name="T50" fmla="*/ 808464432 w 680"/>
                <a:gd name="T51" fmla="*/ 813928491 h 2335"/>
                <a:gd name="T52" fmla="*/ 808464432 w 680"/>
                <a:gd name="T53" fmla="*/ 813928491 h 2335"/>
                <a:gd name="T54" fmla="*/ 808464432 w 680"/>
                <a:gd name="T55" fmla="*/ 813928491 h 2335"/>
                <a:gd name="T56" fmla="*/ 808464432 w 680"/>
                <a:gd name="T57" fmla="*/ 813928491 h 2335"/>
                <a:gd name="T58" fmla="*/ 808464432 w 680"/>
                <a:gd name="T59" fmla="*/ 813928491 h 2335"/>
                <a:gd name="T60" fmla="*/ 808464432 w 680"/>
                <a:gd name="T61" fmla="*/ 813928491 h 2335"/>
                <a:gd name="T62" fmla="*/ 808464432 w 680"/>
                <a:gd name="T63" fmla="*/ 813928491 h 2335"/>
                <a:gd name="T64" fmla="*/ 808464432 w 680"/>
                <a:gd name="T65" fmla="*/ 813928491 h 2335"/>
                <a:gd name="T66" fmla="*/ 808464432 w 680"/>
                <a:gd name="T67" fmla="*/ 813928491 h 2335"/>
                <a:gd name="T68" fmla="*/ 808464432 w 680"/>
                <a:gd name="T69" fmla="*/ 813928491 h 2335"/>
                <a:gd name="T70" fmla="*/ 808464432 w 680"/>
                <a:gd name="T71" fmla="*/ 813928491 h 2335"/>
                <a:gd name="T72" fmla="*/ 808464432 w 680"/>
                <a:gd name="T73" fmla="*/ 813928491 h 2335"/>
                <a:gd name="T74" fmla="*/ 808464432 w 680"/>
                <a:gd name="T75" fmla="*/ 813928491 h 2335"/>
                <a:gd name="T76" fmla="*/ 808464432 w 680"/>
                <a:gd name="T77" fmla="*/ 813928491 h 2335"/>
                <a:gd name="T78" fmla="*/ 808464432 w 680"/>
                <a:gd name="T79" fmla="*/ 813928491 h 2335"/>
                <a:gd name="T80" fmla="*/ 808464432 w 680"/>
                <a:gd name="T81" fmla="*/ 813928491 h 2335"/>
                <a:gd name="T82" fmla="*/ 808464432 w 680"/>
                <a:gd name="T83" fmla="*/ 813928491 h 2335"/>
                <a:gd name="T84" fmla="*/ 808464432 w 680"/>
                <a:gd name="T85" fmla="*/ 813928491 h 2335"/>
                <a:gd name="T86" fmla="*/ 808464432 w 680"/>
                <a:gd name="T87" fmla="*/ 813928491 h 2335"/>
                <a:gd name="T88" fmla="*/ 808464432 w 680"/>
                <a:gd name="T89" fmla="*/ 813928491 h 2335"/>
                <a:gd name="T90" fmla="*/ 808464432 w 680"/>
                <a:gd name="T91" fmla="*/ 813928491 h 2335"/>
                <a:gd name="T92" fmla="*/ 808464432 w 680"/>
                <a:gd name="T93" fmla="*/ 813928491 h 2335"/>
                <a:gd name="T94" fmla="*/ 808464432 w 680"/>
                <a:gd name="T95" fmla="*/ 813928491 h 2335"/>
                <a:gd name="T96" fmla="*/ 808464432 w 680"/>
                <a:gd name="T97" fmla="*/ 813928491 h 2335"/>
                <a:gd name="T98" fmla="*/ 808464432 w 680"/>
                <a:gd name="T99" fmla="*/ 813928491 h 2335"/>
                <a:gd name="T100" fmla="*/ 808464432 w 680"/>
                <a:gd name="T101" fmla="*/ 813928491 h 2335"/>
                <a:gd name="T102" fmla="*/ 808464432 w 680"/>
                <a:gd name="T103" fmla="*/ 813928491 h 2335"/>
                <a:gd name="T104" fmla="*/ 808464432 w 680"/>
                <a:gd name="T105" fmla="*/ 813928491 h 2335"/>
                <a:gd name="T106" fmla="*/ 808464432 w 680"/>
                <a:gd name="T107" fmla="*/ 813928491 h 2335"/>
                <a:gd name="T108" fmla="*/ 808464432 w 680"/>
                <a:gd name="T109" fmla="*/ 813928491 h 2335"/>
                <a:gd name="T110" fmla="*/ 808464432 w 680"/>
                <a:gd name="T111" fmla="*/ 813928491 h 2335"/>
                <a:gd name="T112" fmla="*/ 808464432 w 680"/>
                <a:gd name="T113" fmla="*/ 813928491 h 2335"/>
                <a:gd name="T114" fmla="*/ 808464432 w 680"/>
                <a:gd name="T115" fmla="*/ 813928491 h 2335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80"/>
                <a:gd name="T175" fmla="*/ 0 h 2335"/>
                <a:gd name="T176" fmla="*/ 680 w 680"/>
                <a:gd name="T177" fmla="*/ 2335 h 2335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80" h="2335">
                  <a:moveTo>
                    <a:pt x="676" y="998"/>
                  </a:moveTo>
                  <a:cubicBezTo>
                    <a:pt x="670" y="976"/>
                    <a:pt x="677" y="952"/>
                    <a:pt x="674" y="929"/>
                  </a:cubicBezTo>
                  <a:cubicBezTo>
                    <a:pt x="673" y="919"/>
                    <a:pt x="670" y="909"/>
                    <a:pt x="668" y="898"/>
                  </a:cubicBezTo>
                  <a:cubicBezTo>
                    <a:pt x="666" y="885"/>
                    <a:pt x="667" y="872"/>
                    <a:pt x="667" y="859"/>
                  </a:cubicBezTo>
                  <a:cubicBezTo>
                    <a:pt x="666" y="834"/>
                    <a:pt x="662" y="810"/>
                    <a:pt x="662" y="785"/>
                  </a:cubicBezTo>
                  <a:cubicBezTo>
                    <a:pt x="663" y="759"/>
                    <a:pt x="664" y="732"/>
                    <a:pt x="662" y="706"/>
                  </a:cubicBezTo>
                  <a:cubicBezTo>
                    <a:pt x="657" y="647"/>
                    <a:pt x="645" y="590"/>
                    <a:pt x="632" y="533"/>
                  </a:cubicBezTo>
                  <a:cubicBezTo>
                    <a:pt x="628" y="513"/>
                    <a:pt x="623" y="492"/>
                    <a:pt x="618" y="472"/>
                  </a:cubicBezTo>
                  <a:cubicBezTo>
                    <a:pt x="613" y="453"/>
                    <a:pt x="607" y="436"/>
                    <a:pt x="592" y="423"/>
                  </a:cubicBezTo>
                  <a:cubicBezTo>
                    <a:pt x="572" y="405"/>
                    <a:pt x="547" y="403"/>
                    <a:pt x="524" y="392"/>
                  </a:cubicBezTo>
                  <a:cubicBezTo>
                    <a:pt x="506" y="384"/>
                    <a:pt x="489" y="373"/>
                    <a:pt x="471" y="364"/>
                  </a:cubicBezTo>
                  <a:cubicBezTo>
                    <a:pt x="463" y="361"/>
                    <a:pt x="455" y="357"/>
                    <a:pt x="449" y="351"/>
                  </a:cubicBezTo>
                  <a:cubicBezTo>
                    <a:pt x="443" y="344"/>
                    <a:pt x="438" y="342"/>
                    <a:pt x="430" y="339"/>
                  </a:cubicBezTo>
                  <a:cubicBezTo>
                    <a:pt x="420" y="336"/>
                    <a:pt x="415" y="332"/>
                    <a:pt x="415" y="323"/>
                  </a:cubicBezTo>
                  <a:cubicBezTo>
                    <a:pt x="415" y="314"/>
                    <a:pt x="415" y="304"/>
                    <a:pt x="414" y="294"/>
                  </a:cubicBezTo>
                  <a:cubicBezTo>
                    <a:pt x="413" y="285"/>
                    <a:pt x="412" y="279"/>
                    <a:pt x="419" y="272"/>
                  </a:cubicBezTo>
                  <a:cubicBezTo>
                    <a:pt x="426" y="263"/>
                    <a:pt x="428" y="252"/>
                    <a:pt x="429" y="241"/>
                  </a:cubicBezTo>
                  <a:cubicBezTo>
                    <a:pt x="430" y="234"/>
                    <a:pt x="431" y="227"/>
                    <a:pt x="431" y="220"/>
                  </a:cubicBezTo>
                  <a:cubicBezTo>
                    <a:pt x="431" y="214"/>
                    <a:pt x="431" y="215"/>
                    <a:pt x="436" y="216"/>
                  </a:cubicBezTo>
                  <a:cubicBezTo>
                    <a:pt x="450" y="219"/>
                    <a:pt x="451" y="211"/>
                    <a:pt x="456" y="200"/>
                  </a:cubicBezTo>
                  <a:cubicBezTo>
                    <a:pt x="461" y="190"/>
                    <a:pt x="474" y="134"/>
                    <a:pt x="449" y="140"/>
                  </a:cubicBezTo>
                  <a:cubicBezTo>
                    <a:pt x="446" y="141"/>
                    <a:pt x="449" y="130"/>
                    <a:pt x="449" y="128"/>
                  </a:cubicBezTo>
                  <a:cubicBezTo>
                    <a:pt x="450" y="121"/>
                    <a:pt x="453" y="114"/>
                    <a:pt x="451" y="106"/>
                  </a:cubicBezTo>
                  <a:cubicBezTo>
                    <a:pt x="448" y="95"/>
                    <a:pt x="452" y="86"/>
                    <a:pt x="450" y="76"/>
                  </a:cubicBezTo>
                  <a:cubicBezTo>
                    <a:pt x="449" y="66"/>
                    <a:pt x="442" y="57"/>
                    <a:pt x="438" y="48"/>
                  </a:cubicBezTo>
                  <a:cubicBezTo>
                    <a:pt x="435" y="43"/>
                    <a:pt x="435" y="38"/>
                    <a:pt x="429" y="35"/>
                  </a:cubicBezTo>
                  <a:cubicBezTo>
                    <a:pt x="423" y="32"/>
                    <a:pt x="421" y="28"/>
                    <a:pt x="416" y="24"/>
                  </a:cubicBezTo>
                  <a:cubicBezTo>
                    <a:pt x="408" y="17"/>
                    <a:pt x="397" y="5"/>
                    <a:pt x="386" y="7"/>
                  </a:cubicBezTo>
                  <a:cubicBezTo>
                    <a:pt x="381" y="9"/>
                    <a:pt x="376" y="5"/>
                    <a:pt x="371" y="3"/>
                  </a:cubicBezTo>
                  <a:cubicBezTo>
                    <a:pt x="369" y="3"/>
                    <a:pt x="366" y="3"/>
                    <a:pt x="364" y="3"/>
                  </a:cubicBezTo>
                  <a:cubicBezTo>
                    <a:pt x="360" y="3"/>
                    <a:pt x="356" y="0"/>
                    <a:pt x="352" y="0"/>
                  </a:cubicBezTo>
                  <a:cubicBezTo>
                    <a:pt x="346" y="0"/>
                    <a:pt x="338" y="1"/>
                    <a:pt x="332" y="1"/>
                  </a:cubicBezTo>
                  <a:cubicBezTo>
                    <a:pt x="330" y="2"/>
                    <a:pt x="328" y="4"/>
                    <a:pt x="325" y="4"/>
                  </a:cubicBezTo>
                  <a:cubicBezTo>
                    <a:pt x="322" y="5"/>
                    <a:pt x="320" y="3"/>
                    <a:pt x="316" y="3"/>
                  </a:cubicBezTo>
                  <a:cubicBezTo>
                    <a:pt x="311" y="3"/>
                    <a:pt x="307" y="9"/>
                    <a:pt x="301" y="10"/>
                  </a:cubicBezTo>
                  <a:cubicBezTo>
                    <a:pt x="299" y="11"/>
                    <a:pt x="297" y="13"/>
                    <a:pt x="295" y="14"/>
                  </a:cubicBezTo>
                  <a:cubicBezTo>
                    <a:pt x="292" y="15"/>
                    <a:pt x="288" y="16"/>
                    <a:pt x="285" y="17"/>
                  </a:cubicBezTo>
                  <a:cubicBezTo>
                    <a:pt x="280" y="20"/>
                    <a:pt x="276" y="22"/>
                    <a:pt x="272" y="25"/>
                  </a:cubicBezTo>
                  <a:cubicBezTo>
                    <a:pt x="269" y="27"/>
                    <a:pt x="268" y="30"/>
                    <a:pt x="266" y="32"/>
                  </a:cubicBezTo>
                  <a:cubicBezTo>
                    <a:pt x="262" y="35"/>
                    <a:pt x="257" y="39"/>
                    <a:pt x="254" y="44"/>
                  </a:cubicBezTo>
                  <a:cubicBezTo>
                    <a:pt x="253" y="47"/>
                    <a:pt x="253" y="50"/>
                    <a:pt x="251" y="53"/>
                  </a:cubicBezTo>
                  <a:cubicBezTo>
                    <a:pt x="250" y="56"/>
                    <a:pt x="247" y="57"/>
                    <a:pt x="245" y="61"/>
                  </a:cubicBezTo>
                  <a:cubicBezTo>
                    <a:pt x="242" y="69"/>
                    <a:pt x="237" y="87"/>
                    <a:pt x="241" y="95"/>
                  </a:cubicBezTo>
                  <a:cubicBezTo>
                    <a:pt x="245" y="104"/>
                    <a:pt x="240" y="115"/>
                    <a:pt x="244" y="124"/>
                  </a:cubicBezTo>
                  <a:cubicBezTo>
                    <a:pt x="245" y="129"/>
                    <a:pt x="239" y="126"/>
                    <a:pt x="236" y="127"/>
                  </a:cubicBezTo>
                  <a:cubicBezTo>
                    <a:pt x="231" y="130"/>
                    <a:pt x="231" y="138"/>
                    <a:pt x="230" y="142"/>
                  </a:cubicBezTo>
                  <a:cubicBezTo>
                    <a:pt x="228" y="155"/>
                    <a:pt x="226" y="170"/>
                    <a:pt x="229" y="183"/>
                  </a:cubicBezTo>
                  <a:cubicBezTo>
                    <a:pt x="233" y="194"/>
                    <a:pt x="238" y="203"/>
                    <a:pt x="250" y="204"/>
                  </a:cubicBezTo>
                  <a:cubicBezTo>
                    <a:pt x="254" y="204"/>
                    <a:pt x="256" y="203"/>
                    <a:pt x="257" y="207"/>
                  </a:cubicBezTo>
                  <a:cubicBezTo>
                    <a:pt x="258" y="212"/>
                    <a:pt x="257" y="219"/>
                    <a:pt x="257" y="224"/>
                  </a:cubicBezTo>
                  <a:cubicBezTo>
                    <a:pt x="257" y="235"/>
                    <a:pt x="258" y="245"/>
                    <a:pt x="263" y="254"/>
                  </a:cubicBezTo>
                  <a:cubicBezTo>
                    <a:pt x="266" y="259"/>
                    <a:pt x="269" y="263"/>
                    <a:pt x="269" y="269"/>
                  </a:cubicBezTo>
                  <a:cubicBezTo>
                    <a:pt x="268" y="274"/>
                    <a:pt x="268" y="278"/>
                    <a:pt x="268" y="283"/>
                  </a:cubicBezTo>
                  <a:cubicBezTo>
                    <a:pt x="268" y="293"/>
                    <a:pt x="268" y="304"/>
                    <a:pt x="268" y="314"/>
                  </a:cubicBezTo>
                  <a:cubicBezTo>
                    <a:pt x="268" y="323"/>
                    <a:pt x="270" y="334"/>
                    <a:pt x="261" y="340"/>
                  </a:cubicBezTo>
                  <a:cubicBezTo>
                    <a:pt x="257" y="343"/>
                    <a:pt x="252" y="346"/>
                    <a:pt x="246" y="348"/>
                  </a:cubicBezTo>
                  <a:cubicBezTo>
                    <a:pt x="242" y="350"/>
                    <a:pt x="238" y="350"/>
                    <a:pt x="234" y="352"/>
                  </a:cubicBezTo>
                  <a:cubicBezTo>
                    <a:pt x="223" y="359"/>
                    <a:pt x="216" y="369"/>
                    <a:pt x="204" y="374"/>
                  </a:cubicBezTo>
                  <a:cubicBezTo>
                    <a:pt x="188" y="382"/>
                    <a:pt x="173" y="392"/>
                    <a:pt x="157" y="400"/>
                  </a:cubicBezTo>
                  <a:cubicBezTo>
                    <a:pt x="138" y="412"/>
                    <a:pt x="115" y="413"/>
                    <a:pt x="96" y="426"/>
                  </a:cubicBezTo>
                  <a:cubicBezTo>
                    <a:pt x="76" y="439"/>
                    <a:pt x="66" y="460"/>
                    <a:pt x="61" y="482"/>
                  </a:cubicBezTo>
                  <a:cubicBezTo>
                    <a:pt x="57" y="497"/>
                    <a:pt x="53" y="511"/>
                    <a:pt x="50" y="526"/>
                  </a:cubicBezTo>
                  <a:cubicBezTo>
                    <a:pt x="44" y="565"/>
                    <a:pt x="38" y="605"/>
                    <a:pt x="33" y="644"/>
                  </a:cubicBezTo>
                  <a:cubicBezTo>
                    <a:pt x="28" y="681"/>
                    <a:pt x="25" y="719"/>
                    <a:pt x="21" y="757"/>
                  </a:cubicBezTo>
                  <a:cubicBezTo>
                    <a:pt x="19" y="777"/>
                    <a:pt x="18" y="797"/>
                    <a:pt x="16" y="817"/>
                  </a:cubicBezTo>
                  <a:cubicBezTo>
                    <a:pt x="14" y="842"/>
                    <a:pt x="9" y="868"/>
                    <a:pt x="7" y="893"/>
                  </a:cubicBezTo>
                  <a:cubicBezTo>
                    <a:pt x="4" y="916"/>
                    <a:pt x="6" y="939"/>
                    <a:pt x="5" y="962"/>
                  </a:cubicBezTo>
                  <a:cubicBezTo>
                    <a:pt x="5" y="972"/>
                    <a:pt x="4" y="982"/>
                    <a:pt x="4" y="992"/>
                  </a:cubicBezTo>
                  <a:cubicBezTo>
                    <a:pt x="4" y="997"/>
                    <a:pt x="5" y="1002"/>
                    <a:pt x="4" y="1007"/>
                  </a:cubicBezTo>
                  <a:cubicBezTo>
                    <a:pt x="4" y="1016"/>
                    <a:pt x="2" y="1024"/>
                    <a:pt x="3" y="1032"/>
                  </a:cubicBezTo>
                  <a:cubicBezTo>
                    <a:pt x="3" y="1041"/>
                    <a:pt x="9" y="1051"/>
                    <a:pt x="7" y="1059"/>
                  </a:cubicBezTo>
                  <a:cubicBezTo>
                    <a:pt x="4" y="1069"/>
                    <a:pt x="8" y="1083"/>
                    <a:pt x="10" y="1094"/>
                  </a:cubicBezTo>
                  <a:cubicBezTo>
                    <a:pt x="12" y="1105"/>
                    <a:pt x="17" y="1115"/>
                    <a:pt x="8" y="1125"/>
                  </a:cubicBezTo>
                  <a:cubicBezTo>
                    <a:pt x="4" y="1129"/>
                    <a:pt x="3" y="1134"/>
                    <a:pt x="3" y="1140"/>
                  </a:cubicBezTo>
                  <a:cubicBezTo>
                    <a:pt x="3" y="1143"/>
                    <a:pt x="3" y="1146"/>
                    <a:pt x="3" y="1150"/>
                  </a:cubicBezTo>
                  <a:cubicBezTo>
                    <a:pt x="4" y="1153"/>
                    <a:pt x="8" y="1158"/>
                    <a:pt x="7" y="1161"/>
                  </a:cubicBezTo>
                  <a:cubicBezTo>
                    <a:pt x="5" y="1167"/>
                    <a:pt x="0" y="1172"/>
                    <a:pt x="4" y="1179"/>
                  </a:cubicBezTo>
                  <a:cubicBezTo>
                    <a:pt x="8" y="1185"/>
                    <a:pt x="14" y="1183"/>
                    <a:pt x="19" y="1186"/>
                  </a:cubicBezTo>
                  <a:cubicBezTo>
                    <a:pt x="22" y="1188"/>
                    <a:pt x="15" y="1195"/>
                    <a:pt x="14" y="1198"/>
                  </a:cubicBezTo>
                  <a:cubicBezTo>
                    <a:pt x="13" y="1204"/>
                    <a:pt x="14" y="1210"/>
                    <a:pt x="15" y="1215"/>
                  </a:cubicBezTo>
                  <a:cubicBezTo>
                    <a:pt x="16" y="1220"/>
                    <a:pt x="12" y="1220"/>
                    <a:pt x="12" y="1223"/>
                  </a:cubicBezTo>
                  <a:cubicBezTo>
                    <a:pt x="13" y="1227"/>
                    <a:pt x="16" y="1229"/>
                    <a:pt x="16" y="1233"/>
                  </a:cubicBezTo>
                  <a:cubicBezTo>
                    <a:pt x="17" y="1245"/>
                    <a:pt x="16" y="1256"/>
                    <a:pt x="14" y="1267"/>
                  </a:cubicBezTo>
                  <a:cubicBezTo>
                    <a:pt x="13" y="1275"/>
                    <a:pt x="20" y="1284"/>
                    <a:pt x="22" y="1291"/>
                  </a:cubicBezTo>
                  <a:cubicBezTo>
                    <a:pt x="26" y="1302"/>
                    <a:pt x="29" y="1313"/>
                    <a:pt x="34" y="1324"/>
                  </a:cubicBezTo>
                  <a:cubicBezTo>
                    <a:pt x="41" y="1343"/>
                    <a:pt x="57" y="1349"/>
                    <a:pt x="76" y="1355"/>
                  </a:cubicBezTo>
                  <a:cubicBezTo>
                    <a:pt x="80" y="1356"/>
                    <a:pt x="88" y="1359"/>
                    <a:pt x="92" y="1358"/>
                  </a:cubicBezTo>
                  <a:cubicBezTo>
                    <a:pt x="96" y="1357"/>
                    <a:pt x="98" y="1357"/>
                    <a:pt x="102" y="1358"/>
                  </a:cubicBezTo>
                  <a:cubicBezTo>
                    <a:pt x="109" y="1359"/>
                    <a:pt x="107" y="1373"/>
                    <a:pt x="108" y="1379"/>
                  </a:cubicBezTo>
                  <a:cubicBezTo>
                    <a:pt x="111" y="1404"/>
                    <a:pt x="115" y="1429"/>
                    <a:pt x="120" y="1453"/>
                  </a:cubicBezTo>
                  <a:cubicBezTo>
                    <a:pt x="124" y="1473"/>
                    <a:pt x="131" y="1492"/>
                    <a:pt x="135" y="1512"/>
                  </a:cubicBezTo>
                  <a:cubicBezTo>
                    <a:pt x="138" y="1532"/>
                    <a:pt x="139" y="1553"/>
                    <a:pt x="140" y="1573"/>
                  </a:cubicBezTo>
                  <a:cubicBezTo>
                    <a:pt x="143" y="1647"/>
                    <a:pt x="140" y="1720"/>
                    <a:pt x="145" y="1793"/>
                  </a:cubicBezTo>
                  <a:cubicBezTo>
                    <a:pt x="150" y="1860"/>
                    <a:pt x="153" y="1926"/>
                    <a:pt x="157" y="1992"/>
                  </a:cubicBezTo>
                  <a:cubicBezTo>
                    <a:pt x="158" y="2011"/>
                    <a:pt x="159" y="2029"/>
                    <a:pt x="159" y="2048"/>
                  </a:cubicBezTo>
                  <a:cubicBezTo>
                    <a:pt x="159" y="2053"/>
                    <a:pt x="160" y="2057"/>
                    <a:pt x="160" y="2062"/>
                  </a:cubicBezTo>
                  <a:cubicBezTo>
                    <a:pt x="160" y="2077"/>
                    <a:pt x="164" y="2090"/>
                    <a:pt x="167" y="2105"/>
                  </a:cubicBezTo>
                  <a:cubicBezTo>
                    <a:pt x="170" y="2114"/>
                    <a:pt x="165" y="2124"/>
                    <a:pt x="169" y="2133"/>
                  </a:cubicBezTo>
                  <a:cubicBezTo>
                    <a:pt x="171" y="2138"/>
                    <a:pt x="173" y="2140"/>
                    <a:pt x="173" y="2144"/>
                  </a:cubicBezTo>
                  <a:cubicBezTo>
                    <a:pt x="175" y="2162"/>
                    <a:pt x="176" y="2179"/>
                    <a:pt x="179" y="2196"/>
                  </a:cubicBezTo>
                  <a:cubicBezTo>
                    <a:pt x="180" y="2202"/>
                    <a:pt x="180" y="2210"/>
                    <a:pt x="184" y="2216"/>
                  </a:cubicBezTo>
                  <a:cubicBezTo>
                    <a:pt x="187" y="2221"/>
                    <a:pt x="192" y="2216"/>
                    <a:pt x="196" y="2217"/>
                  </a:cubicBezTo>
                  <a:cubicBezTo>
                    <a:pt x="205" y="2218"/>
                    <a:pt x="183" y="2238"/>
                    <a:pt x="183" y="2239"/>
                  </a:cubicBezTo>
                  <a:cubicBezTo>
                    <a:pt x="172" y="2249"/>
                    <a:pt x="165" y="2261"/>
                    <a:pt x="151" y="2268"/>
                  </a:cubicBezTo>
                  <a:cubicBezTo>
                    <a:pt x="142" y="2273"/>
                    <a:pt x="128" y="2275"/>
                    <a:pt x="124" y="2287"/>
                  </a:cubicBezTo>
                  <a:cubicBezTo>
                    <a:pt x="123" y="2291"/>
                    <a:pt x="125" y="2298"/>
                    <a:pt x="120" y="2301"/>
                  </a:cubicBezTo>
                  <a:cubicBezTo>
                    <a:pt x="117" y="2303"/>
                    <a:pt x="111" y="2303"/>
                    <a:pt x="111" y="2308"/>
                  </a:cubicBezTo>
                  <a:cubicBezTo>
                    <a:pt x="112" y="2315"/>
                    <a:pt x="117" y="2315"/>
                    <a:pt x="122" y="2316"/>
                  </a:cubicBezTo>
                  <a:cubicBezTo>
                    <a:pt x="128" y="2316"/>
                    <a:pt x="133" y="2318"/>
                    <a:pt x="138" y="2320"/>
                  </a:cubicBezTo>
                  <a:cubicBezTo>
                    <a:pt x="157" y="2323"/>
                    <a:pt x="177" y="2323"/>
                    <a:pt x="197" y="2323"/>
                  </a:cubicBezTo>
                  <a:cubicBezTo>
                    <a:pt x="215" y="2323"/>
                    <a:pt x="233" y="2322"/>
                    <a:pt x="251" y="2320"/>
                  </a:cubicBezTo>
                  <a:cubicBezTo>
                    <a:pt x="260" y="2320"/>
                    <a:pt x="271" y="2320"/>
                    <a:pt x="273" y="2309"/>
                  </a:cubicBezTo>
                  <a:cubicBezTo>
                    <a:pt x="275" y="2299"/>
                    <a:pt x="277" y="2294"/>
                    <a:pt x="287" y="2298"/>
                  </a:cubicBezTo>
                  <a:cubicBezTo>
                    <a:pt x="298" y="2302"/>
                    <a:pt x="305" y="2301"/>
                    <a:pt x="316" y="2298"/>
                  </a:cubicBezTo>
                  <a:cubicBezTo>
                    <a:pt x="323" y="2295"/>
                    <a:pt x="344" y="2293"/>
                    <a:pt x="343" y="2282"/>
                  </a:cubicBezTo>
                  <a:cubicBezTo>
                    <a:pt x="342" y="2275"/>
                    <a:pt x="342" y="2268"/>
                    <a:pt x="342" y="2262"/>
                  </a:cubicBezTo>
                  <a:cubicBezTo>
                    <a:pt x="342" y="2257"/>
                    <a:pt x="343" y="2250"/>
                    <a:pt x="341" y="2246"/>
                  </a:cubicBezTo>
                  <a:cubicBezTo>
                    <a:pt x="339" y="2243"/>
                    <a:pt x="335" y="2244"/>
                    <a:pt x="334" y="2243"/>
                  </a:cubicBezTo>
                  <a:cubicBezTo>
                    <a:pt x="332" y="2239"/>
                    <a:pt x="334" y="2230"/>
                    <a:pt x="334" y="2225"/>
                  </a:cubicBezTo>
                  <a:cubicBezTo>
                    <a:pt x="334" y="2221"/>
                    <a:pt x="334" y="2215"/>
                    <a:pt x="332" y="2211"/>
                  </a:cubicBezTo>
                  <a:cubicBezTo>
                    <a:pt x="330" y="2207"/>
                    <a:pt x="333" y="2204"/>
                    <a:pt x="335" y="2199"/>
                  </a:cubicBezTo>
                  <a:cubicBezTo>
                    <a:pt x="337" y="2194"/>
                    <a:pt x="335" y="2188"/>
                    <a:pt x="334" y="2183"/>
                  </a:cubicBezTo>
                  <a:cubicBezTo>
                    <a:pt x="333" y="2175"/>
                    <a:pt x="334" y="2167"/>
                    <a:pt x="333" y="2159"/>
                  </a:cubicBezTo>
                  <a:cubicBezTo>
                    <a:pt x="332" y="2142"/>
                    <a:pt x="331" y="2124"/>
                    <a:pt x="330" y="2106"/>
                  </a:cubicBezTo>
                  <a:cubicBezTo>
                    <a:pt x="328" y="2086"/>
                    <a:pt x="326" y="2067"/>
                    <a:pt x="324" y="2047"/>
                  </a:cubicBezTo>
                  <a:cubicBezTo>
                    <a:pt x="321" y="2027"/>
                    <a:pt x="323" y="2006"/>
                    <a:pt x="323" y="1985"/>
                  </a:cubicBezTo>
                  <a:cubicBezTo>
                    <a:pt x="322" y="1966"/>
                    <a:pt x="321" y="1947"/>
                    <a:pt x="319" y="1928"/>
                  </a:cubicBezTo>
                  <a:cubicBezTo>
                    <a:pt x="317" y="1902"/>
                    <a:pt x="318" y="1877"/>
                    <a:pt x="316" y="1852"/>
                  </a:cubicBezTo>
                  <a:cubicBezTo>
                    <a:pt x="313" y="1824"/>
                    <a:pt x="309" y="1796"/>
                    <a:pt x="298" y="1770"/>
                  </a:cubicBezTo>
                  <a:cubicBezTo>
                    <a:pt x="294" y="1759"/>
                    <a:pt x="290" y="1752"/>
                    <a:pt x="289" y="1740"/>
                  </a:cubicBezTo>
                  <a:cubicBezTo>
                    <a:pt x="288" y="1729"/>
                    <a:pt x="290" y="1718"/>
                    <a:pt x="289" y="1706"/>
                  </a:cubicBezTo>
                  <a:cubicBezTo>
                    <a:pt x="287" y="1683"/>
                    <a:pt x="283" y="1661"/>
                    <a:pt x="286" y="1638"/>
                  </a:cubicBezTo>
                  <a:cubicBezTo>
                    <a:pt x="289" y="1609"/>
                    <a:pt x="292" y="1580"/>
                    <a:pt x="296" y="1552"/>
                  </a:cubicBezTo>
                  <a:cubicBezTo>
                    <a:pt x="302" y="1520"/>
                    <a:pt x="305" y="1488"/>
                    <a:pt x="309" y="1456"/>
                  </a:cubicBezTo>
                  <a:cubicBezTo>
                    <a:pt x="312" y="1435"/>
                    <a:pt x="315" y="1415"/>
                    <a:pt x="319" y="1394"/>
                  </a:cubicBezTo>
                  <a:cubicBezTo>
                    <a:pt x="320" y="1384"/>
                    <a:pt x="318" y="1375"/>
                    <a:pt x="319" y="1365"/>
                  </a:cubicBezTo>
                  <a:cubicBezTo>
                    <a:pt x="320" y="1355"/>
                    <a:pt x="323" y="1345"/>
                    <a:pt x="322" y="1335"/>
                  </a:cubicBezTo>
                  <a:cubicBezTo>
                    <a:pt x="322" y="1326"/>
                    <a:pt x="322" y="1318"/>
                    <a:pt x="325" y="1309"/>
                  </a:cubicBezTo>
                  <a:cubicBezTo>
                    <a:pt x="327" y="1304"/>
                    <a:pt x="329" y="1292"/>
                    <a:pt x="332" y="1289"/>
                  </a:cubicBezTo>
                  <a:cubicBezTo>
                    <a:pt x="332" y="1290"/>
                    <a:pt x="336" y="1293"/>
                    <a:pt x="337" y="1293"/>
                  </a:cubicBezTo>
                  <a:cubicBezTo>
                    <a:pt x="341" y="1295"/>
                    <a:pt x="343" y="1295"/>
                    <a:pt x="344" y="1300"/>
                  </a:cubicBezTo>
                  <a:cubicBezTo>
                    <a:pt x="347" y="1311"/>
                    <a:pt x="349" y="1323"/>
                    <a:pt x="352" y="1334"/>
                  </a:cubicBezTo>
                  <a:cubicBezTo>
                    <a:pt x="357" y="1354"/>
                    <a:pt x="359" y="1375"/>
                    <a:pt x="361" y="1396"/>
                  </a:cubicBezTo>
                  <a:cubicBezTo>
                    <a:pt x="365" y="1433"/>
                    <a:pt x="372" y="1470"/>
                    <a:pt x="376" y="1507"/>
                  </a:cubicBezTo>
                  <a:cubicBezTo>
                    <a:pt x="378" y="1526"/>
                    <a:pt x="381" y="1544"/>
                    <a:pt x="384" y="1561"/>
                  </a:cubicBezTo>
                  <a:cubicBezTo>
                    <a:pt x="388" y="1578"/>
                    <a:pt x="390" y="1597"/>
                    <a:pt x="396" y="1613"/>
                  </a:cubicBezTo>
                  <a:cubicBezTo>
                    <a:pt x="404" y="1633"/>
                    <a:pt x="411" y="1652"/>
                    <a:pt x="415" y="1674"/>
                  </a:cubicBezTo>
                  <a:cubicBezTo>
                    <a:pt x="418" y="1695"/>
                    <a:pt x="422" y="1715"/>
                    <a:pt x="424" y="1736"/>
                  </a:cubicBezTo>
                  <a:cubicBezTo>
                    <a:pt x="429" y="1768"/>
                    <a:pt x="430" y="1800"/>
                    <a:pt x="433" y="1832"/>
                  </a:cubicBezTo>
                  <a:cubicBezTo>
                    <a:pt x="436" y="1867"/>
                    <a:pt x="440" y="1901"/>
                    <a:pt x="443" y="1936"/>
                  </a:cubicBezTo>
                  <a:cubicBezTo>
                    <a:pt x="447" y="1970"/>
                    <a:pt x="451" y="2004"/>
                    <a:pt x="455" y="2039"/>
                  </a:cubicBezTo>
                  <a:cubicBezTo>
                    <a:pt x="458" y="2067"/>
                    <a:pt x="457" y="2096"/>
                    <a:pt x="459" y="2124"/>
                  </a:cubicBezTo>
                  <a:cubicBezTo>
                    <a:pt x="460" y="2144"/>
                    <a:pt x="468" y="2163"/>
                    <a:pt x="471" y="2183"/>
                  </a:cubicBezTo>
                  <a:cubicBezTo>
                    <a:pt x="472" y="2192"/>
                    <a:pt x="471" y="2201"/>
                    <a:pt x="472" y="2210"/>
                  </a:cubicBezTo>
                  <a:cubicBezTo>
                    <a:pt x="472" y="2218"/>
                    <a:pt x="479" y="2223"/>
                    <a:pt x="478" y="2230"/>
                  </a:cubicBezTo>
                  <a:cubicBezTo>
                    <a:pt x="477" y="2234"/>
                    <a:pt x="478" y="2238"/>
                    <a:pt x="477" y="2243"/>
                  </a:cubicBezTo>
                  <a:cubicBezTo>
                    <a:pt x="477" y="2246"/>
                    <a:pt x="473" y="2245"/>
                    <a:pt x="471" y="2246"/>
                  </a:cubicBezTo>
                  <a:cubicBezTo>
                    <a:pt x="469" y="2248"/>
                    <a:pt x="469" y="2256"/>
                    <a:pt x="469" y="2259"/>
                  </a:cubicBezTo>
                  <a:cubicBezTo>
                    <a:pt x="468" y="2266"/>
                    <a:pt x="468" y="2274"/>
                    <a:pt x="468" y="2282"/>
                  </a:cubicBezTo>
                  <a:cubicBezTo>
                    <a:pt x="467" y="2289"/>
                    <a:pt x="468" y="2295"/>
                    <a:pt x="476" y="2298"/>
                  </a:cubicBezTo>
                  <a:cubicBezTo>
                    <a:pt x="480" y="2300"/>
                    <a:pt x="484" y="2303"/>
                    <a:pt x="489" y="2304"/>
                  </a:cubicBezTo>
                  <a:cubicBezTo>
                    <a:pt x="491" y="2305"/>
                    <a:pt x="497" y="2301"/>
                    <a:pt x="498" y="2302"/>
                  </a:cubicBezTo>
                  <a:cubicBezTo>
                    <a:pt x="501" y="2305"/>
                    <a:pt x="488" y="2317"/>
                    <a:pt x="497" y="2323"/>
                  </a:cubicBezTo>
                  <a:cubicBezTo>
                    <a:pt x="505" y="2329"/>
                    <a:pt x="519" y="2329"/>
                    <a:pt x="529" y="2330"/>
                  </a:cubicBezTo>
                  <a:cubicBezTo>
                    <a:pt x="550" y="2334"/>
                    <a:pt x="572" y="2335"/>
                    <a:pt x="594" y="2334"/>
                  </a:cubicBezTo>
                  <a:cubicBezTo>
                    <a:pt x="607" y="2333"/>
                    <a:pt x="620" y="2331"/>
                    <a:pt x="634" y="2331"/>
                  </a:cubicBezTo>
                  <a:cubicBezTo>
                    <a:pt x="645" y="2331"/>
                    <a:pt x="640" y="2319"/>
                    <a:pt x="634" y="2314"/>
                  </a:cubicBezTo>
                  <a:cubicBezTo>
                    <a:pt x="631" y="2312"/>
                    <a:pt x="630" y="2313"/>
                    <a:pt x="630" y="2309"/>
                  </a:cubicBezTo>
                  <a:cubicBezTo>
                    <a:pt x="630" y="2304"/>
                    <a:pt x="630" y="2298"/>
                    <a:pt x="629" y="2293"/>
                  </a:cubicBezTo>
                  <a:cubicBezTo>
                    <a:pt x="625" y="2283"/>
                    <a:pt x="615" y="2275"/>
                    <a:pt x="611" y="2265"/>
                  </a:cubicBezTo>
                  <a:cubicBezTo>
                    <a:pt x="606" y="2255"/>
                    <a:pt x="597" y="2249"/>
                    <a:pt x="594" y="2238"/>
                  </a:cubicBezTo>
                  <a:cubicBezTo>
                    <a:pt x="590" y="2228"/>
                    <a:pt x="591" y="2228"/>
                    <a:pt x="597" y="2219"/>
                  </a:cubicBezTo>
                  <a:cubicBezTo>
                    <a:pt x="604" y="2208"/>
                    <a:pt x="600" y="2196"/>
                    <a:pt x="598" y="2184"/>
                  </a:cubicBezTo>
                  <a:cubicBezTo>
                    <a:pt x="596" y="2174"/>
                    <a:pt x="595" y="2163"/>
                    <a:pt x="594" y="2152"/>
                  </a:cubicBezTo>
                  <a:cubicBezTo>
                    <a:pt x="592" y="2132"/>
                    <a:pt x="584" y="2106"/>
                    <a:pt x="593" y="2087"/>
                  </a:cubicBezTo>
                  <a:cubicBezTo>
                    <a:pt x="599" y="2074"/>
                    <a:pt x="597" y="2057"/>
                    <a:pt x="598" y="2043"/>
                  </a:cubicBezTo>
                  <a:cubicBezTo>
                    <a:pt x="598" y="2006"/>
                    <a:pt x="597" y="1969"/>
                    <a:pt x="596" y="1932"/>
                  </a:cubicBezTo>
                  <a:cubicBezTo>
                    <a:pt x="596" y="1891"/>
                    <a:pt x="595" y="1851"/>
                    <a:pt x="591" y="1810"/>
                  </a:cubicBezTo>
                  <a:cubicBezTo>
                    <a:pt x="590" y="1792"/>
                    <a:pt x="587" y="1773"/>
                    <a:pt x="586" y="1754"/>
                  </a:cubicBezTo>
                  <a:cubicBezTo>
                    <a:pt x="584" y="1732"/>
                    <a:pt x="585" y="1711"/>
                    <a:pt x="582" y="1689"/>
                  </a:cubicBezTo>
                  <a:cubicBezTo>
                    <a:pt x="579" y="1666"/>
                    <a:pt x="583" y="1642"/>
                    <a:pt x="584" y="1619"/>
                  </a:cubicBezTo>
                  <a:cubicBezTo>
                    <a:pt x="584" y="1586"/>
                    <a:pt x="589" y="1553"/>
                    <a:pt x="592" y="1520"/>
                  </a:cubicBezTo>
                  <a:cubicBezTo>
                    <a:pt x="596" y="1465"/>
                    <a:pt x="584" y="1412"/>
                    <a:pt x="584" y="1357"/>
                  </a:cubicBezTo>
                  <a:cubicBezTo>
                    <a:pt x="584" y="1352"/>
                    <a:pt x="583" y="1341"/>
                    <a:pt x="588" y="1338"/>
                  </a:cubicBezTo>
                  <a:cubicBezTo>
                    <a:pt x="592" y="1336"/>
                    <a:pt x="597" y="1335"/>
                    <a:pt x="601" y="1332"/>
                  </a:cubicBezTo>
                  <a:cubicBezTo>
                    <a:pt x="607" y="1329"/>
                    <a:pt x="615" y="1328"/>
                    <a:pt x="619" y="1324"/>
                  </a:cubicBezTo>
                  <a:cubicBezTo>
                    <a:pt x="622" y="1321"/>
                    <a:pt x="624" y="1319"/>
                    <a:pt x="629" y="1319"/>
                  </a:cubicBezTo>
                  <a:cubicBezTo>
                    <a:pt x="635" y="1318"/>
                    <a:pt x="636" y="1314"/>
                    <a:pt x="637" y="1309"/>
                  </a:cubicBezTo>
                  <a:cubicBezTo>
                    <a:pt x="639" y="1305"/>
                    <a:pt x="641" y="1304"/>
                    <a:pt x="645" y="1302"/>
                  </a:cubicBezTo>
                  <a:cubicBezTo>
                    <a:pt x="651" y="1300"/>
                    <a:pt x="652" y="1293"/>
                    <a:pt x="654" y="1288"/>
                  </a:cubicBezTo>
                  <a:cubicBezTo>
                    <a:pt x="656" y="1278"/>
                    <a:pt x="657" y="1268"/>
                    <a:pt x="660" y="1258"/>
                  </a:cubicBezTo>
                  <a:cubicBezTo>
                    <a:pt x="663" y="1247"/>
                    <a:pt x="661" y="1232"/>
                    <a:pt x="661" y="1220"/>
                  </a:cubicBezTo>
                  <a:cubicBezTo>
                    <a:pt x="661" y="1218"/>
                    <a:pt x="659" y="1207"/>
                    <a:pt x="661" y="1207"/>
                  </a:cubicBezTo>
                  <a:cubicBezTo>
                    <a:pt x="663" y="1207"/>
                    <a:pt x="666" y="1205"/>
                    <a:pt x="665" y="1203"/>
                  </a:cubicBezTo>
                  <a:cubicBezTo>
                    <a:pt x="665" y="1200"/>
                    <a:pt x="663" y="1199"/>
                    <a:pt x="663" y="1196"/>
                  </a:cubicBezTo>
                  <a:cubicBezTo>
                    <a:pt x="664" y="1189"/>
                    <a:pt x="667" y="1185"/>
                    <a:pt x="667" y="1178"/>
                  </a:cubicBezTo>
                  <a:cubicBezTo>
                    <a:pt x="666" y="1173"/>
                    <a:pt x="666" y="1167"/>
                    <a:pt x="663" y="1164"/>
                  </a:cubicBezTo>
                  <a:cubicBezTo>
                    <a:pt x="659" y="1158"/>
                    <a:pt x="664" y="1160"/>
                    <a:pt x="667" y="1156"/>
                  </a:cubicBezTo>
                  <a:cubicBezTo>
                    <a:pt x="671" y="1150"/>
                    <a:pt x="670" y="1138"/>
                    <a:pt x="668" y="1131"/>
                  </a:cubicBezTo>
                  <a:cubicBezTo>
                    <a:pt x="667" y="1127"/>
                    <a:pt x="665" y="1127"/>
                    <a:pt x="663" y="1123"/>
                  </a:cubicBezTo>
                  <a:cubicBezTo>
                    <a:pt x="661" y="1119"/>
                    <a:pt x="667" y="1112"/>
                    <a:pt x="669" y="1109"/>
                  </a:cubicBezTo>
                  <a:cubicBezTo>
                    <a:pt x="671" y="1103"/>
                    <a:pt x="673" y="1096"/>
                    <a:pt x="671" y="1089"/>
                  </a:cubicBezTo>
                  <a:cubicBezTo>
                    <a:pt x="670" y="1082"/>
                    <a:pt x="664" y="1076"/>
                    <a:pt x="667" y="1068"/>
                  </a:cubicBezTo>
                  <a:cubicBezTo>
                    <a:pt x="670" y="1062"/>
                    <a:pt x="674" y="1058"/>
                    <a:pt x="675" y="1052"/>
                  </a:cubicBezTo>
                  <a:cubicBezTo>
                    <a:pt x="676" y="1046"/>
                    <a:pt x="676" y="1041"/>
                    <a:pt x="676" y="1035"/>
                  </a:cubicBezTo>
                  <a:cubicBezTo>
                    <a:pt x="676" y="1022"/>
                    <a:pt x="680" y="1011"/>
                    <a:pt x="676" y="998"/>
                  </a:cubicBezTo>
                  <a:moveTo>
                    <a:pt x="95" y="1318"/>
                  </a:moveTo>
                  <a:cubicBezTo>
                    <a:pt x="91" y="1319"/>
                    <a:pt x="87" y="1323"/>
                    <a:pt x="86" y="1318"/>
                  </a:cubicBezTo>
                  <a:cubicBezTo>
                    <a:pt x="85" y="1310"/>
                    <a:pt x="85" y="1301"/>
                    <a:pt x="82" y="1294"/>
                  </a:cubicBezTo>
                  <a:cubicBezTo>
                    <a:pt x="80" y="1292"/>
                    <a:pt x="82" y="1291"/>
                    <a:pt x="83" y="1290"/>
                  </a:cubicBezTo>
                  <a:cubicBezTo>
                    <a:pt x="84" y="1286"/>
                    <a:pt x="81" y="1281"/>
                    <a:pt x="81" y="1278"/>
                  </a:cubicBezTo>
                  <a:cubicBezTo>
                    <a:pt x="80" y="1272"/>
                    <a:pt x="79" y="1266"/>
                    <a:pt x="86" y="1265"/>
                  </a:cubicBezTo>
                  <a:cubicBezTo>
                    <a:pt x="87" y="1265"/>
                    <a:pt x="94" y="1260"/>
                    <a:pt x="95" y="1262"/>
                  </a:cubicBezTo>
                  <a:cubicBezTo>
                    <a:pt x="98" y="1267"/>
                    <a:pt x="96" y="1278"/>
                    <a:pt x="96" y="1283"/>
                  </a:cubicBezTo>
                  <a:cubicBezTo>
                    <a:pt x="97" y="1291"/>
                    <a:pt x="97" y="1299"/>
                    <a:pt x="98" y="1307"/>
                  </a:cubicBezTo>
                  <a:cubicBezTo>
                    <a:pt x="99" y="1313"/>
                    <a:pt x="102" y="1316"/>
                    <a:pt x="95" y="1318"/>
                  </a:cubicBezTo>
                  <a:moveTo>
                    <a:pt x="146" y="764"/>
                  </a:moveTo>
                  <a:cubicBezTo>
                    <a:pt x="146" y="772"/>
                    <a:pt x="143" y="781"/>
                    <a:pt x="142" y="790"/>
                  </a:cubicBezTo>
                  <a:cubicBezTo>
                    <a:pt x="141" y="800"/>
                    <a:pt x="143" y="810"/>
                    <a:pt x="145" y="821"/>
                  </a:cubicBezTo>
                  <a:cubicBezTo>
                    <a:pt x="146" y="828"/>
                    <a:pt x="147" y="836"/>
                    <a:pt x="145" y="844"/>
                  </a:cubicBezTo>
                  <a:cubicBezTo>
                    <a:pt x="144" y="853"/>
                    <a:pt x="140" y="862"/>
                    <a:pt x="139" y="872"/>
                  </a:cubicBezTo>
                  <a:cubicBezTo>
                    <a:pt x="139" y="882"/>
                    <a:pt x="139" y="893"/>
                    <a:pt x="138" y="904"/>
                  </a:cubicBezTo>
                  <a:cubicBezTo>
                    <a:pt x="137" y="913"/>
                    <a:pt x="134" y="922"/>
                    <a:pt x="135" y="931"/>
                  </a:cubicBezTo>
                  <a:cubicBezTo>
                    <a:pt x="135" y="940"/>
                    <a:pt x="142" y="948"/>
                    <a:pt x="139" y="958"/>
                  </a:cubicBezTo>
                  <a:cubicBezTo>
                    <a:pt x="137" y="969"/>
                    <a:pt x="131" y="980"/>
                    <a:pt x="128" y="991"/>
                  </a:cubicBezTo>
                  <a:cubicBezTo>
                    <a:pt x="125" y="999"/>
                    <a:pt x="123" y="1007"/>
                    <a:pt x="122" y="1016"/>
                  </a:cubicBezTo>
                  <a:cubicBezTo>
                    <a:pt x="120" y="1023"/>
                    <a:pt x="116" y="1029"/>
                    <a:pt x="114" y="1036"/>
                  </a:cubicBezTo>
                  <a:cubicBezTo>
                    <a:pt x="110" y="1050"/>
                    <a:pt x="108" y="1065"/>
                    <a:pt x="106" y="1080"/>
                  </a:cubicBezTo>
                  <a:cubicBezTo>
                    <a:pt x="104" y="1087"/>
                    <a:pt x="96" y="1090"/>
                    <a:pt x="104" y="1095"/>
                  </a:cubicBezTo>
                  <a:cubicBezTo>
                    <a:pt x="108" y="1099"/>
                    <a:pt x="104" y="1113"/>
                    <a:pt x="103" y="1118"/>
                  </a:cubicBezTo>
                  <a:cubicBezTo>
                    <a:pt x="103" y="1120"/>
                    <a:pt x="101" y="1141"/>
                    <a:pt x="99" y="1142"/>
                  </a:cubicBezTo>
                  <a:cubicBezTo>
                    <a:pt x="96" y="1142"/>
                    <a:pt x="91" y="1128"/>
                    <a:pt x="91" y="1125"/>
                  </a:cubicBezTo>
                  <a:cubicBezTo>
                    <a:pt x="91" y="1119"/>
                    <a:pt x="92" y="1114"/>
                    <a:pt x="93" y="1108"/>
                  </a:cubicBezTo>
                  <a:cubicBezTo>
                    <a:pt x="93" y="1104"/>
                    <a:pt x="91" y="1099"/>
                    <a:pt x="92" y="1095"/>
                  </a:cubicBezTo>
                  <a:cubicBezTo>
                    <a:pt x="98" y="1080"/>
                    <a:pt x="100" y="1065"/>
                    <a:pt x="104" y="1050"/>
                  </a:cubicBezTo>
                  <a:cubicBezTo>
                    <a:pt x="106" y="1042"/>
                    <a:pt x="108" y="1034"/>
                    <a:pt x="110" y="1026"/>
                  </a:cubicBezTo>
                  <a:cubicBezTo>
                    <a:pt x="112" y="1018"/>
                    <a:pt x="118" y="1008"/>
                    <a:pt x="117" y="1000"/>
                  </a:cubicBezTo>
                  <a:cubicBezTo>
                    <a:pt x="117" y="994"/>
                    <a:pt x="115" y="988"/>
                    <a:pt x="117" y="982"/>
                  </a:cubicBezTo>
                  <a:cubicBezTo>
                    <a:pt x="118" y="977"/>
                    <a:pt x="120" y="973"/>
                    <a:pt x="121" y="969"/>
                  </a:cubicBezTo>
                  <a:cubicBezTo>
                    <a:pt x="123" y="958"/>
                    <a:pt x="122" y="947"/>
                    <a:pt x="124" y="936"/>
                  </a:cubicBezTo>
                  <a:cubicBezTo>
                    <a:pt x="126" y="924"/>
                    <a:pt x="130" y="918"/>
                    <a:pt x="126" y="906"/>
                  </a:cubicBezTo>
                  <a:cubicBezTo>
                    <a:pt x="124" y="897"/>
                    <a:pt x="129" y="888"/>
                    <a:pt x="132" y="879"/>
                  </a:cubicBezTo>
                  <a:cubicBezTo>
                    <a:pt x="135" y="868"/>
                    <a:pt x="133" y="860"/>
                    <a:pt x="133" y="849"/>
                  </a:cubicBezTo>
                  <a:cubicBezTo>
                    <a:pt x="132" y="842"/>
                    <a:pt x="129" y="832"/>
                    <a:pt x="131" y="825"/>
                  </a:cubicBezTo>
                  <a:cubicBezTo>
                    <a:pt x="137" y="805"/>
                    <a:pt x="133" y="784"/>
                    <a:pt x="137" y="764"/>
                  </a:cubicBezTo>
                  <a:cubicBezTo>
                    <a:pt x="140" y="753"/>
                    <a:pt x="142" y="743"/>
                    <a:pt x="144" y="733"/>
                  </a:cubicBezTo>
                  <a:cubicBezTo>
                    <a:pt x="144" y="731"/>
                    <a:pt x="145" y="722"/>
                    <a:pt x="147" y="720"/>
                  </a:cubicBezTo>
                  <a:cubicBezTo>
                    <a:pt x="147" y="721"/>
                    <a:pt x="147" y="731"/>
                    <a:pt x="147" y="732"/>
                  </a:cubicBezTo>
                  <a:cubicBezTo>
                    <a:pt x="147" y="736"/>
                    <a:pt x="148" y="738"/>
                    <a:pt x="148" y="742"/>
                  </a:cubicBezTo>
                  <a:cubicBezTo>
                    <a:pt x="150" y="749"/>
                    <a:pt x="147" y="756"/>
                    <a:pt x="146" y="764"/>
                  </a:cubicBezTo>
                  <a:moveTo>
                    <a:pt x="565" y="1169"/>
                  </a:moveTo>
                  <a:cubicBezTo>
                    <a:pt x="567" y="1152"/>
                    <a:pt x="564" y="1133"/>
                    <a:pt x="562" y="1116"/>
                  </a:cubicBezTo>
                  <a:cubicBezTo>
                    <a:pt x="561" y="1109"/>
                    <a:pt x="557" y="1103"/>
                    <a:pt x="563" y="1097"/>
                  </a:cubicBezTo>
                  <a:cubicBezTo>
                    <a:pt x="565" y="1095"/>
                    <a:pt x="571" y="1093"/>
                    <a:pt x="567" y="1088"/>
                  </a:cubicBezTo>
                  <a:cubicBezTo>
                    <a:pt x="564" y="1085"/>
                    <a:pt x="562" y="1087"/>
                    <a:pt x="561" y="1083"/>
                  </a:cubicBezTo>
                  <a:cubicBezTo>
                    <a:pt x="555" y="1062"/>
                    <a:pt x="549" y="1042"/>
                    <a:pt x="546" y="1020"/>
                  </a:cubicBezTo>
                  <a:cubicBezTo>
                    <a:pt x="543" y="994"/>
                    <a:pt x="534" y="969"/>
                    <a:pt x="535" y="943"/>
                  </a:cubicBezTo>
                  <a:cubicBezTo>
                    <a:pt x="535" y="924"/>
                    <a:pt x="533" y="904"/>
                    <a:pt x="533" y="885"/>
                  </a:cubicBezTo>
                  <a:cubicBezTo>
                    <a:pt x="533" y="863"/>
                    <a:pt x="534" y="840"/>
                    <a:pt x="534" y="817"/>
                  </a:cubicBezTo>
                  <a:cubicBezTo>
                    <a:pt x="534" y="797"/>
                    <a:pt x="533" y="778"/>
                    <a:pt x="534" y="758"/>
                  </a:cubicBezTo>
                  <a:cubicBezTo>
                    <a:pt x="534" y="750"/>
                    <a:pt x="534" y="741"/>
                    <a:pt x="535" y="733"/>
                  </a:cubicBezTo>
                  <a:cubicBezTo>
                    <a:pt x="536" y="728"/>
                    <a:pt x="537" y="722"/>
                    <a:pt x="537" y="717"/>
                  </a:cubicBezTo>
                  <a:cubicBezTo>
                    <a:pt x="537" y="715"/>
                    <a:pt x="537" y="710"/>
                    <a:pt x="538" y="709"/>
                  </a:cubicBezTo>
                  <a:cubicBezTo>
                    <a:pt x="537" y="710"/>
                    <a:pt x="545" y="727"/>
                    <a:pt x="546" y="729"/>
                  </a:cubicBezTo>
                  <a:cubicBezTo>
                    <a:pt x="549" y="739"/>
                    <a:pt x="549" y="749"/>
                    <a:pt x="550" y="760"/>
                  </a:cubicBezTo>
                  <a:cubicBezTo>
                    <a:pt x="550" y="769"/>
                    <a:pt x="551" y="778"/>
                    <a:pt x="553" y="787"/>
                  </a:cubicBezTo>
                  <a:cubicBezTo>
                    <a:pt x="555" y="799"/>
                    <a:pt x="553" y="810"/>
                    <a:pt x="555" y="822"/>
                  </a:cubicBezTo>
                  <a:cubicBezTo>
                    <a:pt x="556" y="836"/>
                    <a:pt x="554" y="848"/>
                    <a:pt x="554" y="862"/>
                  </a:cubicBezTo>
                  <a:cubicBezTo>
                    <a:pt x="553" y="874"/>
                    <a:pt x="555" y="887"/>
                    <a:pt x="557" y="899"/>
                  </a:cubicBezTo>
                  <a:cubicBezTo>
                    <a:pt x="558" y="908"/>
                    <a:pt x="559" y="916"/>
                    <a:pt x="562" y="925"/>
                  </a:cubicBezTo>
                  <a:cubicBezTo>
                    <a:pt x="566" y="936"/>
                    <a:pt x="565" y="952"/>
                    <a:pt x="566" y="964"/>
                  </a:cubicBezTo>
                  <a:cubicBezTo>
                    <a:pt x="566" y="978"/>
                    <a:pt x="572" y="989"/>
                    <a:pt x="573" y="1003"/>
                  </a:cubicBezTo>
                  <a:cubicBezTo>
                    <a:pt x="575" y="1015"/>
                    <a:pt x="575" y="1027"/>
                    <a:pt x="577" y="1038"/>
                  </a:cubicBezTo>
                  <a:cubicBezTo>
                    <a:pt x="579" y="1047"/>
                    <a:pt x="577" y="1053"/>
                    <a:pt x="575" y="1062"/>
                  </a:cubicBezTo>
                  <a:cubicBezTo>
                    <a:pt x="574" y="1072"/>
                    <a:pt x="580" y="1081"/>
                    <a:pt x="578" y="1090"/>
                  </a:cubicBezTo>
                  <a:cubicBezTo>
                    <a:pt x="578" y="1097"/>
                    <a:pt x="576" y="1103"/>
                    <a:pt x="576" y="1109"/>
                  </a:cubicBezTo>
                  <a:cubicBezTo>
                    <a:pt x="576" y="1115"/>
                    <a:pt x="578" y="1122"/>
                    <a:pt x="576" y="1127"/>
                  </a:cubicBezTo>
                  <a:cubicBezTo>
                    <a:pt x="574" y="1134"/>
                    <a:pt x="574" y="1136"/>
                    <a:pt x="578" y="1142"/>
                  </a:cubicBezTo>
                  <a:cubicBezTo>
                    <a:pt x="580" y="1144"/>
                    <a:pt x="584" y="1147"/>
                    <a:pt x="583" y="1150"/>
                  </a:cubicBezTo>
                  <a:cubicBezTo>
                    <a:pt x="582" y="1154"/>
                    <a:pt x="580" y="1158"/>
                    <a:pt x="578" y="1161"/>
                  </a:cubicBezTo>
                  <a:cubicBezTo>
                    <a:pt x="577" y="1163"/>
                    <a:pt x="571" y="1167"/>
                    <a:pt x="571" y="1167"/>
                  </a:cubicBezTo>
                  <a:cubicBezTo>
                    <a:pt x="571" y="1171"/>
                    <a:pt x="572" y="1173"/>
                    <a:pt x="568" y="1177"/>
                  </a:cubicBezTo>
                  <a:cubicBezTo>
                    <a:pt x="564" y="1180"/>
                    <a:pt x="565" y="1171"/>
                    <a:pt x="565" y="1169"/>
                  </a:cubicBezTo>
                  <a:moveTo>
                    <a:pt x="584" y="1252"/>
                  </a:moveTo>
                  <a:cubicBezTo>
                    <a:pt x="580" y="1259"/>
                    <a:pt x="583" y="1265"/>
                    <a:pt x="583" y="1271"/>
                  </a:cubicBezTo>
                  <a:cubicBezTo>
                    <a:pt x="583" y="1273"/>
                    <a:pt x="578" y="1289"/>
                    <a:pt x="579" y="1290"/>
                  </a:cubicBezTo>
                  <a:cubicBezTo>
                    <a:pt x="576" y="1288"/>
                    <a:pt x="576" y="1279"/>
                    <a:pt x="575" y="1276"/>
                  </a:cubicBezTo>
                  <a:cubicBezTo>
                    <a:pt x="574" y="1271"/>
                    <a:pt x="572" y="1266"/>
                    <a:pt x="572" y="1261"/>
                  </a:cubicBezTo>
                  <a:cubicBezTo>
                    <a:pt x="571" y="1257"/>
                    <a:pt x="569" y="1244"/>
                    <a:pt x="575" y="1242"/>
                  </a:cubicBezTo>
                  <a:cubicBezTo>
                    <a:pt x="577" y="1241"/>
                    <a:pt x="585" y="1249"/>
                    <a:pt x="584" y="1252"/>
                  </a:cubicBezTo>
                </a:path>
              </a:pathLst>
            </a:custGeom>
            <a:solidFill>
              <a:schemeClr val="tx1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  <p:txBody>
            <a:bodyPr lIns="428085" tIns="214043" rIns="428085" bIns="214043"/>
            <a:lstStyle/>
            <a:p>
              <a:pPr defTabSz="4280855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6000" kern="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grpSp>
          <p:nvGrpSpPr>
            <p:cNvPr id="427" name="Gruppieren 281">
              <a:extLst>
                <a:ext uri="{FF2B5EF4-FFF2-40B4-BE49-F238E27FC236}">
                  <a16:creationId xmlns:a16="http://schemas.microsoft.com/office/drawing/2014/main" id="{0F23BA6B-73FC-445C-90B6-AA263C90F75E}"/>
                </a:ext>
              </a:extLst>
            </p:cNvPr>
            <p:cNvGrpSpPr/>
            <p:nvPr/>
          </p:nvGrpSpPr>
          <p:grpSpPr>
            <a:xfrm>
              <a:off x="2739987" y="3833767"/>
              <a:ext cx="159492" cy="328959"/>
              <a:chOff x="2519371" y="955678"/>
              <a:chExt cx="1695457" cy="4968890"/>
            </a:xfrm>
            <a:solidFill>
              <a:schemeClr val="tx1"/>
            </a:solidFill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grpSpPr>
          <p:sp>
            <p:nvSpPr>
              <p:cNvPr id="428" name="Freeform 156">
                <a:extLst>
                  <a:ext uri="{FF2B5EF4-FFF2-40B4-BE49-F238E27FC236}">
                    <a16:creationId xmlns:a16="http://schemas.microsoft.com/office/drawing/2014/main" id="{302949B5-4D0E-4BD8-92CE-607524315CE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84626" y="3435360"/>
                <a:ext cx="269878" cy="404813"/>
              </a:xfrm>
              <a:custGeom>
                <a:avLst/>
                <a:gdLst>
                  <a:gd name="T0" fmla="*/ 29 w 72"/>
                  <a:gd name="T1" fmla="*/ 0 h 108"/>
                  <a:gd name="T2" fmla="*/ 37 w 72"/>
                  <a:gd name="T3" fmla="*/ 0 h 108"/>
                  <a:gd name="T4" fmla="*/ 68 w 72"/>
                  <a:gd name="T5" fmla="*/ 6 h 108"/>
                  <a:gd name="T6" fmla="*/ 70 w 72"/>
                  <a:gd name="T7" fmla="*/ 58 h 108"/>
                  <a:gd name="T8" fmla="*/ 60 w 72"/>
                  <a:gd name="T9" fmla="*/ 78 h 108"/>
                  <a:gd name="T10" fmla="*/ 14 w 72"/>
                  <a:gd name="T11" fmla="*/ 108 h 108"/>
                  <a:gd name="T12" fmla="*/ 5 w 72"/>
                  <a:gd name="T13" fmla="*/ 102 h 108"/>
                  <a:gd name="T14" fmla="*/ 13 w 72"/>
                  <a:gd name="T15" fmla="*/ 80 h 108"/>
                  <a:gd name="T16" fmla="*/ 15 w 72"/>
                  <a:gd name="T17" fmla="*/ 6 h 108"/>
                  <a:gd name="T18" fmla="*/ 29 w 72"/>
                  <a:gd name="T19" fmla="*/ 0 h 108"/>
                  <a:gd name="T20" fmla="*/ 28 w 72"/>
                  <a:gd name="T21" fmla="*/ 81 h 108"/>
                  <a:gd name="T22" fmla="*/ 41 w 72"/>
                  <a:gd name="T23" fmla="*/ 53 h 108"/>
                  <a:gd name="T24" fmla="*/ 33 w 72"/>
                  <a:gd name="T25" fmla="*/ 51 h 108"/>
                  <a:gd name="T26" fmla="*/ 28 w 72"/>
                  <a:gd name="T27" fmla="*/ 81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2" h="108">
                    <a:moveTo>
                      <a:pt x="29" y="0"/>
                    </a:moveTo>
                    <a:cubicBezTo>
                      <a:pt x="32" y="0"/>
                      <a:pt x="34" y="0"/>
                      <a:pt x="37" y="0"/>
                    </a:cubicBezTo>
                    <a:cubicBezTo>
                      <a:pt x="45" y="3"/>
                      <a:pt x="60" y="2"/>
                      <a:pt x="68" y="6"/>
                    </a:cubicBezTo>
                    <a:cubicBezTo>
                      <a:pt x="67" y="23"/>
                      <a:pt x="72" y="43"/>
                      <a:pt x="70" y="58"/>
                    </a:cubicBezTo>
                    <a:cubicBezTo>
                      <a:pt x="68" y="65"/>
                      <a:pt x="63" y="72"/>
                      <a:pt x="60" y="78"/>
                    </a:cubicBezTo>
                    <a:cubicBezTo>
                      <a:pt x="49" y="98"/>
                      <a:pt x="39" y="102"/>
                      <a:pt x="14" y="108"/>
                    </a:cubicBezTo>
                    <a:cubicBezTo>
                      <a:pt x="17" y="101"/>
                      <a:pt x="5" y="107"/>
                      <a:pt x="5" y="102"/>
                    </a:cubicBezTo>
                    <a:cubicBezTo>
                      <a:pt x="0" y="90"/>
                      <a:pt x="6" y="87"/>
                      <a:pt x="13" y="80"/>
                    </a:cubicBezTo>
                    <a:cubicBezTo>
                      <a:pt x="15" y="57"/>
                      <a:pt x="13" y="28"/>
                      <a:pt x="15" y="6"/>
                    </a:cubicBezTo>
                    <a:cubicBezTo>
                      <a:pt x="20" y="3"/>
                      <a:pt x="29" y="6"/>
                      <a:pt x="29" y="0"/>
                    </a:cubicBezTo>
                    <a:close/>
                    <a:moveTo>
                      <a:pt x="28" y="81"/>
                    </a:moveTo>
                    <a:cubicBezTo>
                      <a:pt x="41" y="81"/>
                      <a:pt x="43" y="67"/>
                      <a:pt x="41" y="53"/>
                    </a:cubicBezTo>
                    <a:cubicBezTo>
                      <a:pt x="37" y="54"/>
                      <a:pt x="37" y="51"/>
                      <a:pt x="33" y="51"/>
                    </a:cubicBezTo>
                    <a:cubicBezTo>
                      <a:pt x="30" y="61"/>
                      <a:pt x="32" y="75"/>
                      <a:pt x="28" y="8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29" name="Freeform 159">
                <a:extLst>
                  <a:ext uri="{FF2B5EF4-FFF2-40B4-BE49-F238E27FC236}">
                    <a16:creationId xmlns:a16="http://schemas.microsoft.com/office/drawing/2014/main" id="{1B694C5E-FB6D-4AAE-9F9B-3144C4AC53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9775" y="5519755"/>
                <a:ext cx="539752" cy="404813"/>
              </a:xfrm>
              <a:custGeom>
                <a:avLst/>
                <a:gdLst>
                  <a:gd name="T0" fmla="*/ 19 w 144"/>
                  <a:gd name="T1" fmla="*/ 0 h 108"/>
                  <a:gd name="T2" fmla="*/ 21 w 144"/>
                  <a:gd name="T3" fmla="*/ 0 h 108"/>
                  <a:gd name="T4" fmla="*/ 55 w 144"/>
                  <a:gd name="T5" fmla="*/ 19 h 108"/>
                  <a:gd name="T6" fmla="*/ 139 w 144"/>
                  <a:gd name="T7" fmla="*/ 47 h 108"/>
                  <a:gd name="T8" fmla="*/ 144 w 144"/>
                  <a:gd name="T9" fmla="*/ 62 h 108"/>
                  <a:gd name="T10" fmla="*/ 144 w 144"/>
                  <a:gd name="T11" fmla="*/ 66 h 108"/>
                  <a:gd name="T12" fmla="*/ 137 w 144"/>
                  <a:gd name="T13" fmla="*/ 88 h 108"/>
                  <a:gd name="T14" fmla="*/ 105 w 144"/>
                  <a:gd name="T15" fmla="*/ 91 h 108"/>
                  <a:gd name="T16" fmla="*/ 100 w 144"/>
                  <a:gd name="T17" fmla="*/ 103 h 108"/>
                  <a:gd name="T18" fmla="*/ 90 w 144"/>
                  <a:gd name="T19" fmla="*/ 108 h 108"/>
                  <a:gd name="T20" fmla="*/ 82 w 144"/>
                  <a:gd name="T21" fmla="*/ 108 h 108"/>
                  <a:gd name="T22" fmla="*/ 31 w 144"/>
                  <a:gd name="T23" fmla="*/ 100 h 108"/>
                  <a:gd name="T24" fmla="*/ 32 w 144"/>
                  <a:gd name="T25" fmla="*/ 73 h 108"/>
                  <a:gd name="T26" fmla="*/ 0 w 144"/>
                  <a:gd name="T27" fmla="*/ 65 h 108"/>
                  <a:gd name="T28" fmla="*/ 0 w 144"/>
                  <a:gd name="T29" fmla="*/ 51 h 108"/>
                  <a:gd name="T30" fmla="*/ 11 w 144"/>
                  <a:gd name="T31" fmla="*/ 12 h 108"/>
                  <a:gd name="T32" fmla="*/ 19 w 144"/>
                  <a:gd name="T33" fmla="*/ 0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4" h="108">
                    <a:moveTo>
                      <a:pt x="19" y="0"/>
                    </a:moveTo>
                    <a:cubicBezTo>
                      <a:pt x="19" y="0"/>
                      <a:pt x="20" y="0"/>
                      <a:pt x="21" y="0"/>
                    </a:cubicBezTo>
                    <a:cubicBezTo>
                      <a:pt x="33" y="7"/>
                      <a:pt x="45" y="13"/>
                      <a:pt x="55" y="19"/>
                    </a:cubicBezTo>
                    <a:cubicBezTo>
                      <a:pt x="92" y="2"/>
                      <a:pt x="120" y="31"/>
                      <a:pt x="139" y="47"/>
                    </a:cubicBezTo>
                    <a:cubicBezTo>
                      <a:pt x="141" y="52"/>
                      <a:pt x="141" y="58"/>
                      <a:pt x="144" y="62"/>
                    </a:cubicBezTo>
                    <a:cubicBezTo>
                      <a:pt x="144" y="63"/>
                      <a:pt x="144" y="65"/>
                      <a:pt x="144" y="66"/>
                    </a:cubicBezTo>
                    <a:cubicBezTo>
                      <a:pt x="142" y="75"/>
                      <a:pt x="141" y="83"/>
                      <a:pt x="137" y="88"/>
                    </a:cubicBezTo>
                    <a:cubicBezTo>
                      <a:pt x="124" y="87"/>
                      <a:pt x="117" y="91"/>
                      <a:pt x="105" y="91"/>
                    </a:cubicBezTo>
                    <a:cubicBezTo>
                      <a:pt x="99" y="91"/>
                      <a:pt x="104" y="101"/>
                      <a:pt x="100" y="103"/>
                    </a:cubicBezTo>
                    <a:cubicBezTo>
                      <a:pt x="96" y="105"/>
                      <a:pt x="91" y="106"/>
                      <a:pt x="90" y="108"/>
                    </a:cubicBezTo>
                    <a:cubicBezTo>
                      <a:pt x="87" y="108"/>
                      <a:pt x="84" y="108"/>
                      <a:pt x="82" y="108"/>
                    </a:cubicBezTo>
                    <a:cubicBezTo>
                      <a:pt x="66" y="105"/>
                      <a:pt x="41" y="108"/>
                      <a:pt x="31" y="100"/>
                    </a:cubicBezTo>
                    <a:cubicBezTo>
                      <a:pt x="27" y="90"/>
                      <a:pt x="33" y="85"/>
                      <a:pt x="32" y="73"/>
                    </a:cubicBezTo>
                    <a:cubicBezTo>
                      <a:pt x="23" y="75"/>
                      <a:pt x="8" y="71"/>
                      <a:pt x="0" y="65"/>
                    </a:cubicBezTo>
                    <a:cubicBezTo>
                      <a:pt x="0" y="61"/>
                      <a:pt x="0" y="56"/>
                      <a:pt x="0" y="51"/>
                    </a:cubicBezTo>
                    <a:cubicBezTo>
                      <a:pt x="6" y="39"/>
                      <a:pt x="14" y="27"/>
                      <a:pt x="11" y="12"/>
                    </a:cubicBezTo>
                    <a:cubicBezTo>
                      <a:pt x="11" y="7"/>
                      <a:pt x="18" y="6"/>
                      <a:pt x="19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30" name="Freeform 160">
                <a:extLst>
                  <a:ext uri="{FF2B5EF4-FFF2-40B4-BE49-F238E27FC236}">
                    <a16:creationId xmlns:a16="http://schemas.microsoft.com/office/drawing/2014/main" id="{DB924E58-C484-4FC0-85B0-4A873E5F3C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014673"/>
                <a:ext cx="1109668" cy="2805120"/>
              </a:xfrm>
              <a:custGeom>
                <a:avLst/>
                <a:gdLst>
                  <a:gd name="T0" fmla="*/ 0 w 296"/>
                  <a:gd name="T1" fmla="*/ 188 h 748"/>
                  <a:gd name="T2" fmla="*/ 0 w 296"/>
                  <a:gd name="T3" fmla="*/ 183 h 748"/>
                  <a:gd name="T4" fmla="*/ 12 w 296"/>
                  <a:gd name="T5" fmla="*/ 166 h 748"/>
                  <a:gd name="T6" fmla="*/ 103 w 296"/>
                  <a:gd name="T7" fmla="*/ 169 h 748"/>
                  <a:gd name="T8" fmla="*/ 143 w 296"/>
                  <a:gd name="T9" fmla="*/ 9 h 748"/>
                  <a:gd name="T10" fmla="*/ 191 w 296"/>
                  <a:gd name="T11" fmla="*/ 11 h 748"/>
                  <a:gd name="T12" fmla="*/ 225 w 296"/>
                  <a:gd name="T13" fmla="*/ 112 h 748"/>
                  <a:gd name="T14" fmla="*/ 245 w 296"/>
                  <a:gd name="T15" fmla="*/ 133 h 748"/>
                  <a:gd name="T16" fmla="*/ 268 w 296"/>
                  <a:gd name="T17" fmla="*/ 153 h 748"/>
                  <a:gd name="T18" fmla="*/ 296 w 296"/>
                  <a:gd name="T19" fmla="*/ 153 h 748"/>
                  <a:gd name="T20" fmla="*/ 275 w 296"/>
                  <a:gd name="T21" fmla="*/ 276 h 748"/>
                  <a:gd name="T22" fmla="*/ 268 w 296"/>
                  <a:gd name="T23" fmla="*/ 288 h 748"/>
                  <a:gd name="T24" fmla="*/ 264 w 296"/>
                  <a:gd name="T25" fmla="*/ 303 h 748"/>
                  <a:gd name="T26" fmla="*/ 253 w 296"/>
                  <a:gd name="T27" fmla="*/ 328 h 748"/>
                  <a:gd name="T28" fmla="*/ 256 w 296"/>
                  <a:gd name="T29" fmla="*/ 354 h 748"/>
                  <a:gd name="T30" fmla="*/ 252 w 296"/>
                  <a:gd name="T31" fmla="*/ 418 h 748"/>
                  <a:gd name="T32" fmla="*/ 249 w 296"/>
                  <a:gd name="T33" fmla="*/ 514 h 748"/>
                  <a:gd name="T34" fmla="*/ 237 w 296"/>
                  <a:gd name="T35" fmla="*/ 577 h 748"/>
                  <a:gd name="T36" fmla="*/ 223 w 296"/>
                  <a:gd name="T37" fmla="*/ 604 h 748"/>
                  <a:gd name="T38" fmla="*/ 215 w 296"/>
                  <a:gd name="T39" fmla="*/ 633 h 748"/>
                  <a:gd name="T40" fmla="*/ 207 w 296"/>
                  <a:gd name="T41" fmla="*/ 662 h 748"/>
                  <a:gd name="T42" fmla="*/ 222 w 296"/>
                  <a:gd name="T43" fmla="*/ 707 h 748"/>
                  <a:gd name="T44" fmla="*/ 182 w 296"/>
                  <a:gd name="T45" fmla="*/ 689 h 748"/>
                  <a:gd name="T46" fmla="*/ 122 w 296"/>
                  <a:gd name="T47" fmla="*/ 748 h 748"/>
                  <a:gd name="T48" fmla="*/ 114 w 296"/>
                  <a:gd name="T49" fmla="*/ 677 h 748"/>
                  <a:gd name="T50" fmla="*/ 97 w 296"/>
                  <a:gd name="T51" fmla="*/ 672 h 748"/>
                  <a:gd name="T52" fmla="*/ 97 w 296"/>
                  <a:gd name="T53" fmla="*/ 609 h 748"/>
                  <a:gd name="T54" fmla="*/ 86 w 296"/>
                  <a:gd name="T55" fmla="*/ 588 h 748"/>
                  <a:gd name="T56" fmla="*/ 64 w 296"/>
                  <a:gd name="T57" fmla="*/ 525 h 748"/>
                  <a:gd name="T58" fmla="*/ 35 w 296"/>
                  <a:gd name="T59" fmla="*/ 383 h 748"/>
                  <a:gd name="T60" fmla="*/ 19 w 296"/>
                  <a:gd name="T61" fmla="*/ 285 h 748"/>
                  <a:gd name="T62" fmla="*/ 0 w 296"/>
                  <a:gd name="T63" fmla="*/ 188 h 7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96" h="748">
                    <a:moveTo>
                      <a:pt x="0" y="188"/>
                    </a:moveTo>
                    <a:cubicBezTo>
                      <a:pt x="0" y="186"/>
                      <a:pt x="0" y="185"/>
                      <a:pt x="0" y="183"/>
                    </a:cubicBezTo>
                    <a:cubicBezTo>
                      <a:pt x="6" y="178"/>
                      <a:pt x="6" y="168"/>
                      <a:pt x="12" y="166"/>
                    </a:cubicBezTo>
                    <a:cubicBezTo>
                      <a:pt x="37" y="176"/>
                      <a:pt x="73" y="176"/>
                      <a:pt x="103" y="169"/>
                    </a:cubicBezTo>
                    <a:cubicBezTo>
                      <a:pt x="116" y="117"/>
                      <a:pt x="127" y="60"/>
                      <a:pt x="143" y="9"/>
                    </a:cubicBezTo>
                    <a:cubicBezTo>
                      <a:pt x="158" y="0"/>
                      <a:pt x="177" y="2"/>
                      <a:pt x="191" y="11"/>
                    </a:cubicBezTo>
                    <a:cubicBezTo>
                      <a:pt x="204" y="36"/>
                      <a:pt x="210" y="83"/>
                      <a:pt x="225" y="112"/>
                    </a:cubicBezTo>
                    <a:cubicBezTo>
                      <a:pt x="229" y="119"/>
                      <a:pt x="237" y="125"/>
                      <a:pt x="245" y="133"/>
                    </a:cubicBezTo>
                    <a:cubicBezTo>
                      <a:pt x="252" y="140"/>
                      <a:pt x="260" y="152"/>
                      <a:pt x="268" y="153"/>
                    </a:cubicBezTo>
                    <a:cubicBezTo>
                      <a:pt x="277" y="155"/>
                      <a:pt x="286" y="149"/>
                      <a:pt x="296" y="153"/>
                    </a:cubicBezTo>
                    <a:cubicBezTo>
                      <a:pt x="291" y="195"/>
                      <a:pt x="275" y="228"/>
                      <a:pt x="275" y="276"/>
                    </a:cubicBezTo>
                    <a:cubicBezTo>
                      <a:pt x="273" y="281"/>
                      <a:pt x="269" y="281"/>
                      <a:pt x="268" y="288"/>
                    </a:cubicBezTo>
                    <a:cubicBezTo>
                      <a:pt x="265" y="291"/>
                      <a:pt x="265" y="298"/>
                      <a:pt x="264" y="303"/>
                    </a:cubicBezTo>
                    <a:cubicBezTo>
                      <a:pt x="261" y="312"/>
                      <a:pt x="253" y="318"/>
                      <a:pt x="253" y="328"/>
                    </a:cubicBezTo>
                    <a:cubicBezTo>
                      <a:pt x="252" y="336"/>
                      <a:pt x="256" y="345"/>
                      <a:pt x="256" y="354"/>
                    </a:cubicBezTo>
                    <a:cubicBezTo>
                      <a:pt x="258" y="380"/>
                      <a:pt x="258" y="399"/>
                      <a:pt x="252" y="418"/>
                    </a:cubicBezTo>
                    <a:cubicBezTo>
                      <a:pt x="266" y="448"/>
                      <a:pt x="257" y="479"/>
                      <a:pt x="249" y="514"/>
                    </a:cubicBezTo>
                    <a:cubicBezTo>
                      <a:pt x="245" y="536"/>
                      <a:pt x="243" y="559"/>
                      <a:pt x="237" y="577"/>
                    </a:cubicBezTo>
                    <a:cubicBezTo>
                      <a:pt x="233" y="586"/>
                      <a:pt x="227" y="595"/>
                      <a:pt x="223" y="604"/>
                    </a:cubicBezTo>
                    <a:cubicBezTo>
                      <a:pt x="220" y="611"/>
                      <a:pt x="218" y="623"/>
                      <a:pt x="215" y="633"/>
                    </a:cubicBezTo>
                    <a:cubicBezTo>
                      <a:pt x="212" y="644"/>
                      <a:pt x="207" y="656"/>
                      <a:pt x="207" y="662"/>
                    </a:cubicBezTo>
                    <a:cubicBezTo>
                      <a:pt x="208" y="675"/>
                      <a:pt x="224" y="690"/>
                      <a:pt x="222" y="707"/>
                    </a:cubicBezTo>
                    <a:cubicBezTo>
                      <a:pt x="203" y="705"/>
                      <a:pt x="197" y="690"/>
                      <a:pt x="182" y="689"/>
                    </a:cubicBezTo>
                    <a:cubicBezTo>
                      <a:pt x="141" y="688"/>
                      <a:pt x="137" y="726"/>
                      <a:pt x="122" y="748"/>
                    </a:cubicBezTo>
                    <a:cubicBezTo>
                      <a:pt x="120" y="724"/>
                      <a:pt x="115" y="702"/>
                      <a:pt x="114" y="677"/>
                    </a:cubicBezTo>
                    <a:cubicBezTo>
                      <a:pt x="108" y="676"/>
                      <a:pt x="99" y="684"/>
                      <a:pt x="97" y="672"/>
                    </a:cubicBezTo>
                    <a:cubicBezTo>
                      <a:pt x="64" y="661"/>
                      <a:pt x="98" y="627"/>
                      <a:pt x="97" y="609"/>
                    </a:cubicBezTo>
                    <a:cubicBezTo>
                      <a:pt x="97" y="602"/>
                      <a:pt x="90" y="595"/>
                      <a:pt x="86" y="588"/>
                    </a:cubicBezTo>
                    <a:cubicBezTo>
                      <a:pt x="74" y="569"/>
                      <a:pt x="70" y="549"/>
                      <a:pt x="64" y="525"/>
                    </a:cubicBezTo>
                    <a:cubicBezTo>
                      <a:pt x="52" y="479"/>
                      <a:pt x="45" y="432"/>
                      <a:pt x="35" y="383"/>
                    </a:cubicBezTo>
                    <a:cubicBezTo>
                      <a:pt x="28" y="351"/>
                      <a:pt x="22" y="318"/>
                      <a:pt x="19" y="285"/>
                    </a:cubicBezTo>
                    <a:cubicBezTo>
                      <a:pt x="18" y="251"/>
                      <a:pt x="7" y="214"/>
                      <a:pt x="0" y="188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31" name="Freeform 179">
                <a:extLst>
                  <a:ext uri="{FF2B5EF4-FFF2-40B4-BE49-F238E27FC236}">
                    <a16:creationId xmlns:a16="http://schemas.microsoft.com/office/drawing/2014/main" id="{F8ACBF3D-AAFC-4EA6-B916-3AA5EC08A8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4413" y="3113098"/>
                <a:ext cx="452441" cy="569916"/>
              </a:xfrm>
              <a:custGeom>
                <a:avLst/>
                <a:gdLst>
                  <a:gd name="T0" fmla="*/ 0 w 285"/>
                  <a:gd name="T1" fmla="*/ 0 h 359"/>
                  <a:gd name="T2" fmla="*/ 14 w 285"/>
                  <a:gd name="T3" fmla="*/ 96 h 359"/>
                  <a:gd name="T4" fmla="*/ 108 w 285"/>
                  <a:gd name="T5" fmla="*/ 330 h 359"/>
                  <a:gd name="T6" fmla="*/ 285 w 285"/>
                  <a:gd name="T7" fmla="*/ 359 h 359"/>
                  <a:gd name="T8" fmla="*/ 285 w 285"/>
                  <a:gd name="T9" fmla="*/ 311 h 359"/>
                  <a:gd name="T10" fmla="*/ 0 w 285"/>
                  <a:gd name="T11" fmla="*/ 0 h 3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5" h="359">
                    <a:moveTo>
                      <a:pt x="0" y="0"/>
                    </a:moveTo>
                    <a:lnTo>
                      <a:pt x="14" y="96"/>
                    </a:lnTo>
                    <a:lnTo>
                      <a:pt x="108" y="330"/>
                    </a:lnTo>
                    <a:lnTo>
                      <a:pt x="285" y="359"/>
                    </a:lnTo>
                    <a:lnTo>
                      <a:pt x="285" y="31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32" name="Freeform 180">
                <a:extLst>
                  <a:ext uri="{FF2B5EF4-FFF2-40B4-BE49-F238E27FC236}">
                    <a16:creationId xmlns:a16="http://schemas.microsoft.com/office/drawing/2014/main" id="{919D8823-ADE7-43B0-A7A2-35F7FA2BF0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146435"/>
                <a:ext cx="592139" cy="619126"/>
              </a:xfrm>
              <a:custGeom>
                <a:avLst/>
                <a:gdLst>
                  <a:gd name="T0" fmla="*/ 158 w 158"/>
                  <a:gd name="T1" fmla="*/ 0 h 165"/>
                  <a:gd name="T2" fmla="*/ 158 w 158"/>
                  <a:gd name="T3" fmla="*/ 80 h 165"/>
                  <a:gd name="T4" fmla="*/ 113 w 158"/>
                  <a:gd name="T5" fmla="*/ 158 h 165"/>
                  <a:gd name="T6" fmla="*/ 23 w 158"/>
                  <a:gd name="T7" fmla="*/ 156 h 165"/>
                  <a:gd name="T8" fmla="*/ 0 w 158"/>
                  <a:gd name="T9" fmla="*/ 148 h 165"/>
                  <a:gd name="T10" fmla="*/ 87 w 158"/>
                  <a:gd name="T11" fmla="*/ 137 h 165"/>
                  <a:gd name="T12" fmla="*/ 158 w 158"/>
                  <a:gd name="T13" fmla="*/ 0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8" h="165">
                    <a:moveTo>
                      <a:pt x="158" y="0"/>
                    </a:moveTo>
                    <a:cubicBezTo>
                      <a:pt x="158" y="80"/>
                      <a:pt x="158" y="80"/>
                      <a:pt x="158" y="80"/>
                    </a:cubicBezTo>
                    <a:cubicBezTo>
                      <a:pt x="158" y="80"/>
                      <a:pt x="139" y="165"/>
                      <a:pt x="113" y="158"/>
                    </a:cubicBezTo>
                    <a:cubicBezTo>
                      <a:pt x="87" y="152"/>
                      <a:pt x="26" y="157"/>
                      <a:pt x="23" y="156"/>
                    </a:cubicBezTo>
                    <a:cubicBezTo>
                      <a:pt x="20" y="156"/>
                      <a:pt x="0" y="148"/>
                      <a:pt x="0" y="148"/>
                    </a:cubicBezTo>
                    <a:cubicBezTo>
                      <a:pt x="0" y="148"/>
                      <a:pt x="82" y="138"/>
                      <a:pt x="87" y="137"/>
                    </a:cubicBezTo>
                    <a:cubicBezTo>
                      <a:pt x="92" y="136"/>
                      <a:pt x="158" y="0"/>
                      <a:pt x="1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33" name="Freeform 181">
                <a:extLst>
                  <a:ext uri="{FF2B5EF4-FFF2-40B4-BE49-F238E27FC236}">
                    <a16:creationId xmlns:a16="http://schemas.microsoft.com/office/drawing/2014/main" id="{CD43E7EB-5A49-4F8C-A9F6-C6665CC6AD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9813" y="3446473"/>
                <a:ext cx="63501" cy="423863"/>
              </a:xfrm>
              <a:custGeom>
                <a:avLst/>
                <a:gdLst>
                  <a:gd name="T0" fmla="*/ 0 w 40"/>
                  <a:gd name="T1" fmla="*/ 0 h 267"/>
                  <a:gd name="T2" fmla="*/ 0 w 40"/>
                  <a:gd name="T3" fmla="*/ 267 h 267"/>
                  <a:gd name="T4" fmla="*/ 40 w 40"/>
                  <a:gd name="T5" fmla="*/ 260 h 267"/>
                  <a:gd name="T6" fmla="*/ 0 w 40"/>
                  <a:gd name="T7" fmla="*/ 0 h 2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0" h="267">
                    <a:moveTo>
                      <a:pt x="0" y="0"/>
                    </a:moveTo>
                    <a:lnTo>
                      <a:pt x="0" y="267"/>
                    </a:lnTo>
                    <a:lnTo>
                      <a:pt x="40" y="26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34" name="Freeform 182">
                <a:extLst>
                  <a:ext uri="{FF2B5EF4-FFF2-40B4-BE49-F238E27FC236}">
                    <a16:creationId xmlns:a16="http://schemas.microsoft.com/office/drawing/2014/main" id="{8B118466-F5F2-4291-9993-9378DD4E07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48036" y="3884623"/>
                <a:ext cx="217490" cy="1497016"/>
              </a:xfrm>
              <a:custGeom>
                <a:avLst/>
                <a:gdLst>
                  <a:gd name="T0" fmla="*/ 58 w 58"/>
                  <a:gd name="T1" fmla="*/ 0 h 399"/>
                  <a:gd name="T2" fmla="*/ 6 w 58"/>
                  <a:gd name="T3" fmla="*/ 369 h 399"/>
                  <a:gd name="T4" fmla="*/ 0 w 58"/>
                  <a:gd name="T5" fmla="*/ 399 h 399"/>
                  <a:gd name="T6" fmla="*/ 34 w 58"/>
                  <a:gd name="T7" fmla="*/ 312 h 399"/>
                  <a:gd name="T8" fmla="*/ 29 w 58"/>
                  <a:gd name="T9" fmla="*/ 255 h 399"/>
                  <a:gd name="T10" fmla="*/ 48 w 58"/>
                  <a:gd name="T11" fmla="*/ 139 h 399"/>
                  <a:gd name="T12" fmla="*/ 58 w 58"/>
                  <a:gd name="T13" fmla="*/ 0 h 3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8" h="399">
                    <a:moveTo>
                      <a:pt x="58" y="0"/>
                    </a:moveTo>
                    <a:cubicBezTo>
                      <a:pt x="6" y="369"/>
                      <a:pt x="6" y="369"/>
                      <a:pt x="6" y="369"/>
                    </a:cubicBezTo>
                    <a:cubicBezTo>
                      <a:pt x="0" y="399"/>
                      <a:pt x="0" y="399"/>
                      <a:pt x="0" y="399"/>
                    </a:cubicBezTo>
                    <a:cubicBezTo>
                      <a:pt x="0" y="399"/>
                      <a:pt x="36" y="342"/>
                      <a:pt x="34" y="312"/>
                    </a:cubicBezTo>
                    <a:cubicBezTo>
                      <a:pt x="32" y="282"/>
                      <a:pt x="28" y="282"/>
                      <a:pt x="29" y="255"/>
                    </a:cubicBezTo>
                    <a:cubicBezTo>
                      <a:pt x="31" y="227"/>
                      <a:pt x="46" y="145"/>
                      <a:pt x="48" y="139"/>
                    </a:cubicBezTo>
                    <a:cubicBezTo>
                      <a:pt x="50" y="132"/>
                      <a:pt x="58" y="0"/>
                      <a:pt x="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35" name="Freeform 183">
                <a:extLst>
                  <a:ext uri="{FF2B5EF4-FFF2-40B4-BE49-F238E27FC236}">
                    <a16:creationId xmlns:a16="http://schemas.microsoft.com/office/drawing/2014/main" id="{300BECAB-1F11-4F1D-857D-0866F49C80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3802" y="4038612"/>
                <a:ext cx="231777" cy="385763"/>
              </a:xfrm>
              <a:custGeom>
                <a:avLst/>
                <a:gdLst>
                  <a:gd name="T0" fmla="*/ 62 w 62"/>
                  <a:gd name="T1" fmla="*/ 0 h 103"/>
                  <a:gd name="T2" fmla="*/ 35 w 62"/>
                  <a:gd name="T3" fmla="*/ 31 h 103"/>
                  <a:gd name="T4" fmla="*/ 27 w 62"/>
                  <a:gd name="T5" fmla="*/ 66 h 103"/>
                  <a:gd name="T6" fmla="*/ 6 w 62"/>
                  <a:gd name="T7" fmla="*/ 79 h 103"/>
                  <a:gd name="T8" fmla="*/ 23 w 62"/>
                  <a:gd name="T9" fmla="*/ 30 h 103"/>
                  <a:gd name="T10" fmla="*/ 62 w 62"/>
                  <a:gd name="T11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2" h="103">
                    <a:moveTo>
                      <a:pt x="62" y="0"/>
                    </a:moveTo>
                    <a:cubicBezTo>
                      <a:pt x="62" y="0"/>
                      <a:pt x="37" y="20"/>
                      <a:pt x="35" y="31"/>
                    </a:cubicBezTo>
                    <a:cubicBezTo>
                      <a:pt x="33" y="42"/>
                      <a:pt x="25" y="75"/>
                      <a:pt x="27" y="66"/>
                    </a:cubicBezTo>
                    <a:cubicBezTo>
                      <a:pt x="28" y="58"/>
                      <a:pt x="0" y="103"/>
                      <a:pt x="6" y="79"/>
                    </a:cubicBezTo>
                    <a:cubicBezTo>
                      <a:pt x="12" y="55"/>
                      <a:pt x="14" y="48"/>
                      <a:pt x="23" y="30"/>
                    </a:cubicBezTo>
                    <a:cubicBezTo>
                      <a:pt x="33" y="12"/>
                      <a:pt x="62" y="0"/>
                      <a:pt x="62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36" name="Freeform 184">
                <a:extLst>
                  <a:ext uri="{FF2B5EF4-FFF2-40B4-BE49-F238E27FC236}">
                    <a16:creationId xmlns:a16="http://schemas.microsoft.com/office/drawing/2014/main" id="{049D9533-5789-43D0-A8C9-304B35BC2F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5862" y="4581537"/>
                <a:ext cx="153989" cy="434977"/>
              </a:xfrm>
              <a:custGeom>
                <a:avLst/>
                <a:gdLst>
                  <a:gd name="T0" fmla="*/ 41 w 41"/>
                  <a:gd name="T1" fmla="*/ 0 h 116"/>
                  <a:gd name="T2" fmla="*/ 25 w 41"/>
                  <a:gd name="T3" fmla="*/ 47 h 116"/>
                  <a:gd name="T4" fmla="*/ 7 w 41"/>
                  <a:gd name="T5" fmla="*/ 85 h 116"/>
                  <a:gd name="T6" fmla="*/ 36 w 41"/>
                  <a:gd name="T7" fmla="*/ 0 h 116"/>
                  <a:gd name="T8" fmla="*/ 41 w 41"/>
                  <a:gd name="T9" fmla="*/ 0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116">
                    <a:moveTo>
                      <a:pt x="41" y="0"/>
                    </a:moveTo>
                    <a:cubicBezTo>
                      <a:pt x="38" y="8"/>
                      <a:pt x="33" y="18"/>
                      <a:pt x="25" y="47"/>
                    </a:cubicBezTo>
                    <a:cubicBezTo>
                      <a:pt x="17" y="75"/>
                      <a:pt x="0" y="116"/>
                      <a:pt x="7" y="85"/>
                    </a:cubicBezTo>
                    <a:cubicBezTo>
                      <a:pt x="15" y="53"/>
                      <a:pt x="31" y="0"/>
                      <a:pt x="36" y="0"/>
                    </a:cubicBezTo>
                    <a:cubicBezTo>
                      <a:pt x="41" y="0"/>
                      <a:pt x="41" y="0"/>
                      <a:pt x="41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37" name="Freeform 185">
                <a:extLst>
                  <a:ext uri="{FF2B5EF4-FFF2-40B4-BE49-F238E27FC236}">
                    <a16:creationId xmlns:a16="http://schemas.microsoft.com/office/drawing/2014/main" id="{37627CC9-129A-43B1-A3BB-C470E64900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5988" y="5470541"/>
                <a:ext cx="274638" cy="165099"/>
              </a:xfrm>
              <a:custGeom>
                <a:avLst/>
                <a:gdLst>
                  <a:gd name="T0" fmla="*/ 0 w 73"/>
                  <a:gd name="T1" fmla="*/ 41 h 44"/>
                  <a:gd name="T2" fmla="*/ 37 w 73"/>
                  <a:gd name="T3" fmla="*/ 29 h 44"/>
                  <a:gd name="T4" fmla="*/ 68 w 73"/>
                  <a:gd name="T5" fmla="*/ 29 h 44"/>
                  <a:gd name="T6" fmla="*/ 50 w 73"/>
                  <a:gd name="T7" fmla="*/ 0 h 44"/>
                  <a:gd name="T8" fmla="*/ 0 w 73"/>
                  <a:gd name="T9" fmla="*/ 41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3" h="44">
                    <a:moveTo>
                      <a:pt x="0" y="41"/>
                    </a:moveTo>
                    <a:cubicBezTo>
                      <a:pt x="0" y="41"/>
                      <a:pt x="8" y="27"/>
                      <a:pt x="37" y="29"/>
                    </a:cubicBezTo>
                    <a:cubicBezTo>
                      <a:pt x="65" y="31"/>
                      <a:pt x="66" y="44"/>
                      <a:pt x="68" y="29"/>
                    </a:cubicBezTo>
                    <a:cubicBezTo>
                      <a:pt x="70" y="14"/>
                      <a:pt x="73" y="0"/>
                      <a:pt x="50" y="0"/>
                    </a:cubicBezTo>
                    <a:cubicBezTo>
                      <a:pt x="27" y="0"/>
                      <a:pt x="0" y="41"/>
                      <a:pt x="0" y="4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38" name="Freeform 186">
                <a:extLst>
                  <a:ext uri="{FF2B5EF4-FFF2-40B4-BE49-F238E27FC236}">
                    <a16:creationId xmlns:a16="http://schemas.microsoft.com/office/drawing/2014/main" id="{563F6957-FAAD-4937-B0BE-62C9F15953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5111766"/>
                <a:ext cx="139699" cy="265114"/>
              </a:xfrm>
              <a:custGeom>
                <a:avLst/>
                <a:gdLst>
                  <a:gd name="T0" fmla="*/ 16 w 37"/>
                  <a:gd name="T1" fmla="*/ 2 h 71"/>
                  <a:gd name="T2" fmla="*/ 31 w 37"/>
                  <a:gd name="T3" fmla="*/ 31 h 71"/>
                  <a:gd name="T4" fmla="*/ 24 w 37"/>
                  <a:gd name="T5" fmla="*/ 42 h 71"/>
                  <a:gd name="T6" fmla="*/ 3 w 37"/>
                  <a:gd name="T7" fmla="*/ 7 h 71"/>
                  <a:gd name="T8" fmla="*/ 16 w 37"/>
                  <a:gd name="T9" fmla="*/ 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71">
                    <a:moveTo>
                      <a:pt x="16" y="2"/>
                    </a:moveTo>
                    <a:cubicBezTo>
                      <a:pt x="24" y="6"/>
                      <a:pt x="32" y="19"/>
                      <a:pt x="31" y="31"/>
                    </a:cubicBezTo>
                    <a:cubicBezTo>
                      <a:pt x="30" y="43"/>
                      <a:pt x="37" y="71"/>
                      <a:pt x="24" y="42"/>
                    </a:cubicBezTo>
                    <a:cubicBezTo>
                      <a:pt x="11" y="14"/>
                      <a:pt x="0" y="14"/>
                      <a:pt x="3" y="7"/>
                    </a:cubicBezTo>
                    <a:cubicBezTo>
                      <a:pt x="6" y="0"/>
                      <a:pt x="16" y="2"/>
                      <a:pt x="16" y="2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39" name="Freeform 187">
                <a:extLst>
                  <a:ext uri="{FF2B5EF4-FFF2-40B4-BE49-F238E27FC236}">
                    <a16:creationId xmlns:a16="http://schemas.microsoft.com/office/drawing/2014/main" id="{0F6C919F-93B2-4856-9D2A-0DFA71C122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4" y="4159261"/>
                <a:ext cx="322265" cy="741365"/>
              </a:xfrm>
              <a:custGeom>
                <a:avLst/>
                <a:gdLst>
                  <a:gd name="T0" fmla="*/ 0 w 86"/>
                  <a:gd name="T1" fmla="*/ 0 h 198"/>
                  <a:gd name="T2" fmla="*/ 38 w 86"/>
                  <a:gd name="T3" fmla="*/ 16 h 198"/>
                  <a:gd name="T4" fmla="*/ 51 w 86"/>
                  <a:gd name="T5" fmla="*/ 54 h 198"/>
                  <a:gd name="T6" fmla="*/ 36 w 86"/>
                  <a:gd name="T7" fmla="*/ 54 h 198"/>
                  <a:gd name="T8" fmla="*/ 70 w 86"/>
                  <a:gd name="T9" fmla="*/ 161 h 198"/>
                  <a:gd name="T10" fmla="*/ 37 w 86"/>
                  <a:gd name="T11" fmla="*/ 132 h 198"/>
                  <a:gd name="T12" fmla="*/ 36 w 86"/>
                  <a:gd name="T13" fmla="*/ 198 h 198"/>
                  <a:gd name="T14" fmla="*/ 16 w 86"/>
                  <a:gd name="T15" fmla="*/ 96 h 198"/>
                  <a:gd name="T16" fmla="*/ 0 w 86"/>
                  <a:gd name="T17" fmla="*/ 28 h 198"/>
                  <a:gd name="T18" fmla="*/ 0 w 86"/>
                  <a:gd name="T19" fmla="*/ 0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6" h="198">
                    <a:moveTo>
                      <a:pt x="0" y="0"/>
                    </a:moveTo>
                    <a:cubicBezTo>
                      <a:pt x="0" y="0"/>
                      <a:pt x="32" y="2"/>
                      <a:pt x="38" y="16"/>
                    </a:cubicBezTo>
                    <a:cubicBezTo>
                      <a:pt x="44" y="31"/>
                      <a:pt x="66" y="67"/>
                      <a:pt x="51" y="54"/>
                    </a:cubicBezTo>
                    <a:cubicBezTo>
                      <a:pt x="36" y="41"/>
                      <a:pt x="17" y="24"/>
                      <a:pt x="36" y="54"/>
                    </a:cubicBezTo>
                    <a:cubicBezTo>
                      <a:pt x="54" y="84"/>
                      <a:pt x="86" y="181"/>
                      <a:pt x="70" y="161"/>
                    </a:cubicBezTo>
                    <a:cubicBezTo>
                      <a:pt x="55" y="141"/>
                      <a:pt x="39" y="108"/>
                      <a:pt x="37" y="132"/>
                    </a:cubicBezTo>
                    <a:cubicBezTo>
                      <a:pt x="36" y="156"/>
                      <a:pt x="36" y="198"/>
                      <a:pt x="36" y="198"/>
                    </a:cubicBezTo>
                    <a:cubicBezTo>
                      <a:pt x="16" y="96"/>
                      <a:pt x="16" y="96"/>
                      <a:pt x="16" y="96"/>
                    </a:cubicBezTo>
                    <a:cubicBezTo>
                      <a:pt x="0" y="28"/>
                      <a:pt x="0" y="28"/>
                      <a:pt x="0" y="28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40" name="Freeform 157">
                <a:extLst>
                  <a:ext uri="{FF2B5EF4-FFF2-40B4-BE49-F238E27FC236}">
                    <a16:creationId xmlns:a16="http://schemas.microsoft.com/office/drawing/2014/main" id="{06D60EA5-6B2C-434B-AD34-2DEFEB3B94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5160" y="960441"/>
                <a:ext cx="584203" cy="1049339"/>
              </a:xfrm>
              <a:custGeom>
                <a:avLst/>
                <a:gdLst>
                  <a:gd name="T0" fmla="*/ 0 w 156"/>
                  <a:gd name="T1" fmla="*/ 112 h 280"/>
                  <a:gd name="T2" fmla="*/ 0 w 156"/>
                  <a:gd name="T3" fmla="*/ 104 h 280"/>
                  <a:gd name="T4" fmla="*/ 11 w 156"/>
                  <a:gd name="T5" fmla="*/ 96 h 280"/>
                  <a:gd name="T6" fmla="*/ 4 w 156"/>
                  <a:gd name="T7" fmla="*/ 46 h 280"/>
                  <a:gd name="T8" fmla="*/ 28 w 156"/>
                  <a:gd name="T9" fmla="*/ 22 h 280"/>
                  <a:gd name="T10" fmla="*/ 59 w 156"/>
                  <a:gd name="T11" fmla="*/ 4 h 280"/>
                  <a:gd name="T12" fmla="*/ 108 w 156"/>
                  <a:gd name="T13" fmla="*/ 6 h 280"/>
                  <a:gd name="T14" fmla="*/ 138 w 156"/>
                  <a:gd name="T15" fmla="*/ 93 h 280"/>
                  <a:gd name="T16" fmla="*/ 143 w 156"/>
                  <a:gd name="T17" fmla="*/ 99 h 280"/>
                  <a:gd name="T18" fmla="*/ 131 w 156"/>
                  <a:gd name="T19" fmla="*/ 140 h 280"/>
                  <a:gd name="T20" fmla="*/ 122 w 156"/>
                  <a:gd name="T21" fmla="*/ 147 h 280"/>
                  <a:gd name="T22" fmla="*/ 114 w 156"/>
                  <a:gd name="T23" fmla="*/ 215 h 280"/>
                  <a:gd name="T24" fmla="*/ 80 w 156"/>
                  <a:gd name="T25" fmla="*/ 280 h 280"/>
                  <a:gd name="T26" fmla="*/ 56 w 156"/>
                  <a:gd name="T27" fmla="*/ 267 h 280"/>
                  <a:gd name="T28" fmla="*/ 44 w 156"/>
                  <a:gd name="T29" fmla="*/ 241 h 280"/>
                  <a:gd name="T30" fmla="*/ 24 w 156"/>
                  <a:gd name="T31" fmla="*/ 188 h 280"/>
                  <a:gd name="T32" fmla="*/ 24 w 156"/>
                  <a:gd name="T33" fmla="*/ 150 h 280"/>
                  <a:gd name="T34" fmla="*/ 12 w 156"/>
                  <a:gd name="T35" fmla="*/ 137 h 280"/>
                  <a:gd name="T36" fmla="*/ 0 w 156"/>
                  <a:gd name="T37" fmla="*/ 112 h 2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56" h="280">
                    <a:moveTo>
                      <a:pt x="0" y="112"/>
                    </a:moveTo>
                    <a:cubicBezTo>
                      <a:pt x="0" y="109"/>
                      <a:pt x="0" y="107"/>
                      <a:pt x="0" y="104"/>
                    </a:cubicBezTo>
                    <a:cubicBezTo>
                      <a:pt x="3" y="101"/>
                      <a:pt x="3" y="94"/>
                      <a:pt x="11" y="96"/>
                    </a:cubicBezTo>
                    <a:cubicBezTo>
                      <a:pt x="6" y="80"/>
                      <a:pt x="6" y="64"/>
                      <a:pt x="4" y="46"/>
                    </a:cubicBezTo>
                    <a:cubicBezTo>
                      <a:pt x="8" y="36"/>
                      <a:pt x="19" y="30"/>
                      <a:pt x="28" y="22"/>
                    </a:cubicBezTo>
                    <a:cubicBezTo>
                      <a:pt x="38" y="16"/>
                      <a:pt x="47" y="7"/>
                      <a:pt x="59" y="4"/>
                    </a:cubicBezTo>
                    <a:cubicBezTo>
                      <a:pt x="72" y="0"/>
                      <a:pt x="89" y="6"/>
                      <a:pt x="108" y="6"/>
                    </a:cubicBezTo>
                    <a:cubicBezTo>
                      <a:pt x="134" y="19"/>
                      <a:pt x="156" y="55"/>
                      <a:pt x="138" y="93"/>
                    </a:cubicBezTo>
                    <a:cubicBezTo>
                      <a:pt x="137" y="97"/>
                      <a:pt x="145" y="96"/>
                      <a:pt x="143" y="99"/>
                    </a:cubicBezTo>
                    <a:cubicBezTo>
                      <a:pt x="149" y="115"/>
                      <a:pt x="135" y="128"/>
                      <a:pt x="131" y="140"/>
                    </a:cubicBezTo>
                    <a:cubicBezTo>
                      <a:pt x="130" y="142"/>
                      <a:pt x="126" y="146"/>
                      <a:pt x="122" y="147"/>
                    </a:cubicBezTo>
                    <a:cubicBezTo>
                      <a:pt x="122" y="170"/>
                      <a:pt x="121" y="196"/>
                      <a:pt x="114" y="215"/>
                    </a:cubicBezTo>
                    <a:cubicBezTo>
                      <a:pt x="108" y="240"/>
                      <a:pt x="102" y="273"/>
                      <a:pt x="80" y="280"/>
                    </a:cubicBezTo>
                    <a:cubicBezTo>
                      <a:pt x="72" y="274"/>
                      <a:pt x="61" y="274"/>
                      <a:pt x="56" y="267"/>
                    </a:cubicBezTo>
                    <a:cubicBezTo>
                      <a:pt x="51" y="260"/>
                      <a:pt x="48" y="249"/>
                      <a:pt x="44" y="241"/>
                    </a:cubicBezTo>
                    <a:cubicBezTo>
                      <a:pt x="38" y="226"/>
                      <a:pt x="27" y="204"/>
                      <a:pt x="24" y="188"/>
                    </a:cubicBezTo>
                    <a:cubicBezTo>
                      <a:pt x="22" y="175"/>
                      <a:pt x="27" y="161"/>
                      <a:pt x="24" y="150"/>
                    </a:cubicBezTo>
                    <a:cubicBezTo>
                      <a:pt x="22" y="140"/>
                      <a:pt x="18" y="144"/>
                      <a:pt x="12" y="137"/>
                    </a:cubicBezTo>
                    <a:cubicBezTo>
                      <a:pt x="7" y="130"/>
                      <a:pt x="4" y="118"/>
                      <a:pt x="0" y="112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41" name="Freeform 158">
                <a:extLst>
                  <a:ext uri="{FF2B5EF4-FFF2-40B4-BE49-F238E27FC236}">
                    <a16:creationId xmlns:a16="http://schemas.microsoft.com/office/drawing/2014/main" id="{D8C4071E-C0DF-4B5D-A992-20C175B8C78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49535" y="3479810"/>
                <a:ext cx="255587" cy="434977"/>
              </a:xfrm>
              <a:custGeom>
                <a:avLst/>
                <a:gdLst>
                  <a:gd name="T0" fmla="*/ 63 w 68"/>
                  <a:gd name="T1" fmla="*/ 116 h 116"/>
                  <a:gd name="T2" fmla="*/ 60 w 68"/>
                  <a:gd name="T3" fmla="*/ 116 h 116"/>
                  <a:gd name="T4" fmla="*/ 16 w 68"/>
                  <a:gd name="T5" fmla="*/ 98 h 116"/>
                  <a:gd name="T6" fmla="*/ 0 w 68"/>
                  <a:gd name="T7" fmla="*/ 23 h 116"/>
                  <a:gd name="T8" fmla="*/ 55 w 68"/>
                  <a:gd name="T9" fmla="*/ 16 h 116"/>
                  <a:gd name="T10" fmla="*/ 68 w 68"/>
                  <a:gd name="T11" fmla="*/ 91 h 116"/>
                  <a:gd name="T12" fmla="*/ 62 w 68"/>
                  <a:gd name="T13" fmla="*/ 103 h 116"/>
                  <a:gd name="T14" fmla="*/ 63 w 68"/>
                  <a:gd name="T15" fmla="*/ 116 h 116"/>
                  <a:gd name="T16" fmla="*/ 38 w 68"/>
                  <a:gd name="T17" fmla="*/ 65 h 116"/>
                  <a:gd name="T18" fmla="*/ 54 w 68"/>
                  <a:gd name="T19" fmla="*/ 91 h 116"/>
                  <a:gd name="T20" fmla="*/ 44 w 68"/>
                  <a:gd name="T21" fmla="*/ 60 h 116"/>
                  <a:gd name="T22" fmla="*/ 38 w 68"/>
                  <a:gd name="T23" fmla="*/ 65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8" h="116">
                    <a:moveTo>
                      <a:pt x="63" y="116"/>
                    </a:moveTo>
                    <a:cubicBezTo>
                      <a:pt x="62" y="116"/>
                      <a:pt x="60" y="116"/>
                      <a:pt x="60" y="116"/>
                    </a:cubicBezTo>
                    <a:cubicBezTo>
                      <a:pt x="46" y="108"/>
                      <a:pt x="26" y="108"/>
                      <a:pt x="16" y="98"/>
                    </a:cubicBezTo>
                    <a:cubicBezTo>
                      <a:pt x="0" y="81"/>
                      <a:pt x="0" y="56"/>
                      <a:pt x="0" y="23"/>
                    </a:cubicBezTo>
                    <a:cubicBezTo>
                      <a:pt x="12" y="8"/>
                      <a:pt x="40" y="0"/>
                      <a:pt x="55" y="16"/>
                    </a:cubicBezTo>
                    <a:cubicBezTo>
                      <a:pt x="60" y="40"/>
                      <a:pt x="62" y="69"/>
                      <a:pt x="68" y="91"/>
                    </a:cubicBezTo>
                    <a:cubicBezTo>
                      <a:pt x="68" y="98"/>
                      <a:pt x="59" y="95"/>
                      <a:pt x="62" y="103"/>
                    </a:cubicBezTo>
                    <a:cubicBezTo>
                      <a:pt x="66" y="106"/>
                      <a:pt x="67" y="110"/>
                      <a:pt x="63" y="116"/>
                    </a:cubicBezTo>
                    <a:close/>
                    <a:moveTo>
                      <a:pt x="38" y="65"/>
                    </a:moveTo>
                    <a:cubicBezTo>
                      <a:pt x="40" y="75"/>
                      <a:pt x="38" y="93"/>
                      <a:pt x="54" y="91"/>
                    </a:cubicBezTo>
                    <a:cubicBezTo>
                      <a:pt x="47" y="85"/>
                      <a:pt x="50" y="69"/>
                      <a:pt x="44" y="60"/>
                    </a:cubicBezTo>
                    <a:cubicBezTo>
                      <a:pt x="43" y="64"/>
                      <a:pt x="38" y="61"/>
                      <a:pt x="38" y="6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42" name="Freeform 161">
                <a:extLst>
                  <a:ext uri="{FF2B5EF4-FFF2-40B4-BE49-F238E27FC236}">
                    <a16:creationId xmlns:a16="http://schemas.microsoft.com/office/drawing/2014/main" id="{97260E7E-4B5A-4F9B-A494-74553E727E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1695456"/>
                <a:ext cx="525465" cy="1109667"/>
              </a:xfrm>
              <a:custGeom>
                <a:avLst/>
                <a:gdLst>
                  <a:gd name="T0" fmla="*/ 139 w 140"/>
                  <a:gd name="T1" fmla="*/ 64 h 296"/>
                  <a:gd name="T2" fmla="*/ 139 w 140"/>
                  <a:gd name="T3" fmla="*/ 71 h 296"/>
                  <a:gd name="T4" fmla="*/ 138 w 140"/>
                  <a:gd name="T5" fmla="*/ 71 h 296"/>
                  <a:gd name="T6" fmla="*/ 93 w 140"/>
                  <a:gd name="T7" fmla="*/ 296 h 296"/>
                  <a:gd name="T8" fmla="*/ 84 w 140"/>
                  <a:gd name="T9" fmla="*/ 296 h 296"/>
                  <a:gd name="T10" fmla="*/ 75 w 140"/>
                  <a:gd name="T11" fmla="*/ 294 h 296"/>
                  <a:gd name="T12" fmla="*/ 63 w 140"/>
                  <a:gd name="T13" fmla="*/ 261 h 296"/>
                  <a:gd name="T14" fmla="*/ 33 w 140"/>
                  <a:gd name="T15" fmla="*/ 170 h 296"/>
                  <a:gd name="T16" fmla="*/ 0 w 140"/>
                  <a:gd name="T17" fmla="*/ 34 h 296"/>
                  <a:gd name="T18" fmla="*/ 0 w 140"/>
                  <a:gd name="T19" fmla="*/ 27 h 296"/>
                  <a:gd name="T20" fmla="*/ 16 w 140"/>
                  <a:gd name="T21" fmla="*/ 0 h 296"/>
                  <a:gd name="T22" fmla="*/ 67 w 140"/>
                  <a:gd name="T23" fmla="*/ 34 h 296"/>
                  <a:gd name="T24" fmla="*/ 70 w 140"/>
                  <a:gd name="T25" fmla="*/ 68 h 296"/>
                  <a:gd name="T26" fmla="*/ 81 w 140"/>
                  <a:gd name="T27" fmla="*/ 61 h 296"/>
                  <a:gd name="T28" fmla="*/ 76 w 140"/>
                  <a:gd name="T29" fmla="*/ 43 h 296"/>
                  <a:gd name="T30" fmla="*/ 110 w 140"/>
                  <a:gd name="T31" fmla="*/ 11 h 296"/>
                  <a:gd name="T32" fmla="*/ 121 w 140"/>
                  <a:gd name="T33" fmla="*/ 3 h 296"/>
                  <a:gd name="T34" fmla="*/ 139 w 140"/>
                  <a:gd name="T35" fmla="*/ 64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0" h="296">
                    <a:moveTo>
                      <a:pt x="139" y="64"/>
                    </a:moveTo>
                    <a:cubicBezTo>
                      <a:pt x="139" y="67"/>
                      <a:pt x="139" y="68"/>
                      <a:pt x="139" y="71"/>
                    </a:cubicBezTo>
                    <a:cubicBezTo>
                      <a:pt x="138" y="71"/>
                      <a:pt x="138" y="71"/>
                      <a:pt x="138" y="71"/>
                    </a:cubicBezTo>
                    <a:cubicBezTo>
                      <a:pt x="125" y="148"/>
                      <a:pt x="108" y="221"/>
                      <a:pt x="93" y="296"/>
                    </a:cubicBezTo>
                    <a:cubicBezTo>
                      <a:pt x="90" y="296"/>
                      <a:pt x="87" y="296"/>
                      <a:pt x="84" y="296"/>
                    </a:cubicBezTo>
                    <a:cubicBezTo>
                      <a:pt x="85" y="294"/>
                      <a:pt x="78" y="296"/>
                      <a:pt x="75" y="294"/>
                    </a:cubicBezTo>
                    <a:cubicBezTo>
                      <a:pt x="72" y="291"/>
                      <a:pt x="67" y="273"/>
                      <a:pt x="63" y="261"/>
                    </a:cubicBezTo>
                    <a:cubicBezTo>
                      <a:pt x="53" y="231"/>
                      <a:pt x="42" y="201"/>
                      <a:pt x="33" y="170"/>
                    </a:cubicBezTo>
                    <a:cubicBezTo>
                      <a:pt x="18" y="118"/>
                      <a:pt x="8" y="74"/>
                      <a:pt x="0" y="34"/>
                    </a:cubicBezTo>
                    <a:cubicBezTo>
                      <a:pt x="0" y="32"/>
                      <a:pt x="0" y="29"/>
                      <a:pt x="0" y="27"/>
                    </a:cubicBezTo>
                    <a:cubicBezTo>
                      <a:pt x="3" y="16"/>
                      <a:pt x="3" y="0"/>
                      <a:pt x="16" y="0"/>
                    </a:cubicBezTo>
                    <a:cubicBezTo>
                      <a:pt x="31" y="13"/>
                      <a:pt x="49" y="23"/>
                      <a:pt x="67" y="34"/>
                    </a:cubicBezTo>
                    <a:cubicBezTo>
                      <a:pt x="74" y="43"/>
                      <a:pt x="71" y="56"/>
                      <a:pt x="70" y="68"/>
                    </a:cubicBezTo>
                    <a:cubicBezTo>
                      <a:pt x="75" y="68"/>
                      <a:pt x="80" y="64"/>
                      <a:pt x="81" y="61"/>
                    </a:cubicBezTo>
                    <a:cubicBezTo>
                      <a:pt x="80" y="62"/>
                      <a:pt x="72" y="49"/>
                      <a:pt x="76" y="43"/>
                    </a:cubicBezTo>
                    <a:cubicBezTo>
                      <a:pt x="87" y="33"/>
                      <a:pt x="98" y="22"/>
                      <a:pt x="110" y="11"/>
                    </a:cubicBezTo>
                    <a:cubicBezTo>
                      <a:pt x="114" y="8"/>
                      <a:pt x="116" y="0"/>
                      <a:pt x="121" y="3"/>
                    </a:cubicBezTo>
                    <a:cubicBezTo>
                      <a:pt x="140" y="11"/>
                      <a:pt x="134" y="43"/>
                      <a:pt x="139" y="64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43" name="Freeform 162">
                <a:extLst>
                  <a:ext uri="{FF2B5EF4-FFF2-40B4-BE49-F238E27FC236}">
                    <a16:creationId xmlns:a16="http://schemas.microsoft.com/office/drawing/2014/main" id="{8D3ED763-6E86-4984-992E-6AFFAD433B7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19371" y="1709743"/>
                <a:ext cx="1695457" cy="2039945"/>
              </a:xfrm>
              <a:custGeom>
                <a:avLst/>
                <a:gdLst>
                  <a:gd name="T0" fmla="*/ 289 w 452"/>
                  <a:gd name="T1" fmla="*/ 0 h 544"/>
                  <a:gd name="T2" fmla="*/ 293 w 452"/>
                  <a:gd name="T3" fmla="*/ 0 h 544"/>
                  <a:gd name="T4" fmla="*/ 403 w 452"/>
                  <a:gd name="T5" fmla="*/ 35 h 544"/>
                  <a:gd name="T6" fmla="*/ 413 w 452"/>
                  <a:gd name="T7" fmla="*/ 78 h 544"/>
                  <a:gd name="T8" fmla="*/ 414 w 452"/>
                  <a:gd name="T9" fmla="*/ 130 h 544"/>
                  <a:gd name="T10" fmla="*/ 421 w 452"/>
                  <a:gd name="T11" fmla="*/ 163 h 544"/>
                  <a:gd name="T12" fmla="*/ 424 w 452"/>
                  <a:gd name="T13" fmla="*/ 225 h 544"/>
                  <a:gd name="T14" fmla="*/ 446 w 452"/>
                  <a:gd name="T15" fmla="*/ 341 h 544"/>
                  <a:gd name="T16" fmla="*/ 452 w 452"/>
                  <a:gd name="T17" fmla="*/ 475 h 544"/>
                  <a:gd name="T18" fmla="*/ 439 w 452"/>
                  <a:gd name="T19" fmla="*/ 471 h 544"/>
                  <a:gd name="T20" fmla="*/ 395 w 452"/>
                  <a:gd name="T21" fmla="*/ 476 h 544"/>
                  <a:gd name="T22" fmla="*/ 395 w 452"/>
                  <a:gd name="T23" fmla="*/ 513 h 544"/>
                  <a:gd name="T24" fmla="*/ 340 w 452"/>
                  <a:gd name="T25" fmla="*/ 517 h 544"/>
                  <a:gd name="T26" fmla="*/ 289 w 452"/>
                  <a:gd name="T27" fmla="*/ 470 h 544"/>
                  <a:gd name="T28" fmla="*/ 248 w 452"/>
                  <a:gd name="T29" fmla="*/ 372 h 544"/>
                  <a:gd name="T30" fmla="*/ 206 w 452"/>
                  <a:gd name="T31" fmla="*/ 527 h 544"/>
                  <a:gd name="T32" fmla="*/ 70 w 452"/>
                  <a:gd name="T33" fmla="*/ 523 h 544"/>
                  <a:gd name="T34" fmla="*/ 70 w 452"/>
                  <a:gd name="T35" fmla="*/ 499 h 544"/>
                  <a:gd name="T36" fmla="*/ 56 w 452"/>
                  <a:gd name="T37" fmla="*/ 486 h 544"/>
                  <a:gd name="T38" fmla="*/ 4 w 452"/>
                  <a:gd name="T39" fmla="*/ 499 h 544"/>
                  <a:gd name="T40" fmla="*/ 4 w 452"/>
                  <a:gd name="T41" fmla="*/ 364 h 544"/>
                  <a:gd name="T42" fmla="*/ 12 w 452"/>
                  <a:gd name="T43" fmla="*/ 322 h 544"/>
                  <a:gd name="T44" fmla="*/ 16 w 452"/>
                  <a:gd name="T45" fmla="*/ 264 h 544"/>
                  <a:gd name="T46" fmla="*/ 33 w 452"/>
                  <a:gd name="T47" fmla="*/ 124 h 544"/>
                  <a:gd name="T48" fmla="*/ 49 w 452"/>
                  <a:gd name="T49" fmla="*/ 44 h 544"/>
                  <a:gd name="T50" fmla="*/ 107 w 452"/>
                  <a:gd name="T51" fmla="*/ 25 h 544"/>
                  <a:gd name="T52" fmla="*/ 163 w 452"/>
                  <a:gd name="T53" fmla="*/ 4 h 544"/>
                  <a:gd name="T54" fmla="*/ 196 w 452"/>
                  <a:gd name="T55" fmla="*/ 153 h 544"/>
                  <a:gd name="T56" fmla="*/ 228 w 452"/>
                  <a:gd name="T57" fmla="*/ 255 h 544"/>
                  <a:gd name="T58" fmla="*/ 244 w 452"/>
                  <a:gd name="T59" fmla="*/ 285 h 544"/>
                  <a:gd name="T60" fmla="*/ 251 w 452"/>
                  <a:gd name="T61" fmla="*/ 265 h 544"/>
                  <a:gd name="T62" fmla="*/ 256 w 452"/>
                  <a:gd name="T63" fmla="*/ 242 h 544"/>
                  <a:gd name="T64" fmla="*/ 285 w 452"/>
                  <a:gd name="T65" fmla="*/ 109 h 544"/>
                  <a:gd name="T66" fmla="*/ 289 w 452"/>
                  <a:gd name="T67" fmla="*/ 0 h 544"/>
                  <a:gd name="T68" fmla="*/ 80 w 452"/>
                  <a:gd name="T69" fmla="*/ 314 h 544"/>
                  <a:gd name="T70" fmla="*/ 80 w 452"/>
                  <a:gd name="T71" fmla="*/ 344 h 544"/>
                  <a:gd name="T72" fmla="*/ 80 w 452"/>
                  <a:gd name="T73" fmla="*/ 383 h 544"/>
                  <a:gd name="T74" fmla="*/ 92 w 452"/>
                  <a:gd name="T75" fmla="*/ 332 h 544"/>
                  <a:gd name="T76" fmla="*/ 92 w 452"/>
                  <a:gd name="T77" fmla="*/ 265 h 544"/>
                  <a:gd name="T78" fmla="*/ 80 w 452"/>
                  <a:gd name="T79" fmla="*/ 314 h 5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52" h="544">
                    <a:moveTo>
                      <a:pt x="289" y="0"/>
                    </a:moveTo>
                    <a:cubicBezTo>
                      <a:pt x="290" y="0"/>
                      <a:pt x="291" y="0"/>
                      <a:pt x="293" y="0"/>
                    </a:cubicBezTo>
                    <a:cubicBezTo>
                      <a:pt x="329" y="13"/>
                      <a:pt x="366" y="25"/>
                      <a:pt x="403" y="35"/>
                    </a:cubicBezTo>
                    <a:cubicBezTo>
                      <a:pt x="405" y="50"/>
                      <a:pt x="411" y="63"/>
                      <a:pt x="413" y="78"/>
                    </a:cubicBezTo>
                    <a:cubicBezTo>
                      <a:pt x="414" y="95"/>
                      <a:pt x="413" y="112"/>
                      <a:pt x="414" y="130"/>
                    </a:cubicBezTo>
                    <a:cubicBezTo>
                      <a:pt x="414" y="142"/>
                      <a:pt x="420" y="152"/>
                      <a:pt x="421" y="163"/>
                    </a:cubicBezTo>
                    <a:cubicBezTo>
                      <a:pt x="422" y="185"/>
                      <a:pt x="421" y="205"/>
                      <a:pt x="424" y="225"/>
                    </a:cubicBezTo>
                    <a:cubicBezTo>
                      <a:pt x="429" y="265"/>
                      <a:pt x="441" y="302"/>
                      <a:pt x="446" y="341"/>
                    </a:cubicBezTo>
                    <a:cubicBezTo>
                      <a:pt x="451" y="384"/>
                      <a:pt x="449" y="426"/>
                      <a:pt x="452" y="475"/>
                    </a:cubicBezTo>
                    <a:cubicBezTo>
                      <a:pt x="450" y="480"/>
                      <a:pt x="443" y="472"/>
                      <a:pt x="439" y="471"/>
                    </a:cubicBezTo>
                    <a:cubicBezTo>
                      <a:pt x="424" y="467"/>
                      <a:pt x="404" y="467"/>
                      <a:pt x="395" y="476"/>
                    </a:cubicBezTo>
                    <a:cubicBezTo>
                      <a:pt x="395" y="489"/>
                      <a:pt x="395" y="500"/>
                      <a:pt x="395" y="513"/>
                    </a:cubicBezTo>
                    <a:cubicBezTo>
                      <a:pt x="375" y="513"/>
                      <a:pt x="357" y="519"/>
                      <a:pt x="340" y="517"/>
                    </a:cubicBezTo>
                    <a:cubicBezTo>
                      <a:pt x="312" y="514"/>
                      <a:pt x="301" y="490"/>
                      <a:pt x="289" y="470"/>
                    </a:cubicBezTo>
                    <a:cubicBezTo>
                      <a:pt x="273" y="443"/>
                      <a:pt x="256" y="400"/>
                      <a:pt x="248" y="372"/>
                    </a:cubicBezTo>
                    <a:cubicBezTo>
                      <a:pt x="238" y="428"/>
                      <a:pt x="235" y="489"/>
                      <a:pt x="206" y="527"/>
                    </a:cubicBezTo>
                    <a:cubicBezTo>
                      <a:pt x="171" y="544"/>
                      <a:pt x="108" y="532"/>
                      <a:pt x="70" y="523"/>
                    </a:cubicBezTo>
                    <a:cubicBezTo>
                      <a:pt x="70" y="515"/>
                      <a:pt x="70" y="506"/>
                      <a:pt x="70" y="499"/>
                    </a:cubicBezTo>
                    <a:cubicBezTo>
                      <a:pt x="63" y="501"/>
                      <a:pt x="61" y="490"/>
                      <a:pt x="56" y="486"/>
                    </a:cubicBezTo>
                    <a:cubicBezTo>
                      <a:pt x="35" y="486"/>
                      <a:pt x="19" y="492"/>
                      <a:pt x="4" y="499"/>
                    </a:cubicBezTo>
                    <a:cubicBezTo>
                      <a:pt x="7" y="454"/>
                      <a:pt x="0" y="410"/>
                      <a:pt x="4" y="364"/>
                    </a:cubicBezTo>
                    <a:cubicBezTo>
                      <a:pt x="4" y="350"/>
                      <a:pt x="10" y="336"/>
                      <a:pt x="12" y="322"/>
                    </a:cubicBezTo>
                    <a:cubicBezTo>
                      <a:pt x="14" y="303"/>
                      <a:pt x="14" y="283"/>
                      <a:pt x="16" y="264"/>
                    </a:cubicBezTo>
                    <a:cubicBezTo>
                      <a:pt x="23" y="218"/>
                      <a:pt x="24" y="170"/>
                      <a:pt x="33" y="124"/>
                    </a:cubicBezTo>
                    <a:cubicBezTo>
                      <a:pt x="40" y="97"/>
                      <a:pt x="41" y="69"/>
                      <a:pt x="49" y="44"/>
                    </a:cubicBezTo>
                    <a:cubicBezTo>
                      <a:pt x="67" y="35"/>
                      <a:pt x="87" y="31"/>
                      <a:pt x="107" y="25"/>
                    </a:cubicBezTo>
                    <a:cubicBezTo>
                      <a:pt x="125" y="17"/>
                      <a:pt x="143" y="9"/>
                      <a:pt x="163" y="4"/>
                    </a:cubicBezTo>
                    <a:cubicBezTo>
                      <a:pt x="175" y="54"/>
                      <a:pt x="184" y="105"/>
                      <a:pt x="196" y="153"/>
                    </a:cubicBezTo>
                    <a:cubicBezTo>
                      <a:pt x="205" y="189"/>
                      <a:pt x="217" y="223"/>
                      <a:pt x="228" y="255"/>
                    </a:cubicBezTo>
                    <a:cubicBezTo>
                      <a:pt x="232" y="265"/>
                      <a:pt x="235" y="279"/>
                      <a:pt x="244" y="285"/>
                    </a:cubicBezTo>
                    <a:cubicBezTo>
                      <a:pt x="251" y="280"/>
                      <a:pt x="249" y="271"/>
                      <a:pt x="251" y="265"/>
                    </a:cubicBezTo>
                    <a:cubicBezTo>
                      <a:pt x="252" y="257"/>
                      <a:pt x="253" y="250"/>
                      <a:pt x="256" y="242"/>
                    </a:cubicBezTo>
                    <a:cubicBezTo>
                      <a:pt x="265" y="196"/>
                      <a:pt x="278" y="154"/>
                      <a:pt x="285" y="109"/>
                    </a:cubicBezTo>
                    <a:cubicBezTo>
                      <a:pt x="290" y="75"/>
                      <a:pt x="286" y="35"/>
                      <a:pt x="289" y="0"/>
                    </a:cubicBezTo>
                    <a:close/>
                    <a:moveTo>
                      <a:pt x="80" y="314"/>
                    </a:moveTo>
                    <a:cubicBezTo>
                      <a:pt x="79" y="323"/>
                      <a:pt x="82" y="334"/>
                      <a:pt x="80" y="344"/>
                    </a:cubicBezTo>
                    <a:cubicBezTo>
                      <a:pt x="80" y="356"/>
                      <a:pt x="76" y="370"/>
                      <a:pt x="80" y="383"/>
                    </a:cubicBezTo>
                    <a:cubicBezTo>
                      <a:pt x="84" y="367"/>
                      <a:pt x="88" y="350"/>
                      <a:pt x="92" y="332"/>
                    </a:cubicBezTo>
                    <a:cubicBezTo>
                      <a:pt x="96" y="313"/>
                      <a:pt x="101" y="281"/>
                      <a:pt x="92" y="265"/>
                    </a:cubicBezTo>
                    <a:cubicBezTo>
                      <a:pt x="91" y="284"/>
                      <a:pt x="83" y="297"/>
                      <a:pt x="80" y="314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44" name="Freeform 163">
                <a:extLst>
                  <a:ext uri="{FF2B5EF4-FFF2-40B4-BE49-F238E27FC236}">
                    <a16:creationId xmlns:a16="http://schemas.microsoft.com/office/drawing/2014/main" id="{8B886B56-F54F-42D1-9BD5-91F5239254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70225" y="1665292"/>
                <a:ext cx="839790" cy="1258889"/>
              </a:xfrm>
              <a:custGeom>
                <a:avLst/>
                <a:gdLst>
                  <a:gd name="T0" fmla="*/ 160 w 224"/>
                  <a:gd name="T1" fmla="*/ 0 h 336"/>
                  <a:gd name="T2" fmla="*/ 161 w 224"/>
                  <a:gd name="T3" fmla="*/ 0 h 336"/>
                  <a:gd name="T4" fmla="*/ 192 w 224"/>
                  <a:gd name="T5" fmla="*/ 20 h 336"/>
                  <a:gd name="T6" fmla="*/ 219 w 224"/>
                  <a:gd name="T7" fmla="*/ 62 h 336"/>
                  <a:gd name="T8" fmla="*/ 202 w 224"/>
                  <a:gd name="T9" fmla="*/ 79 h 336"/>
                  <a:gd name="T10" fmla="*/ 224 w 224"/>
                  <a:gd name="T11" fmla="*/ 101 h 336"/>
                  <a:gd name="T12" fmla="*/ 224 w 224"/>
                  <a:gd name="T13" fmla="*/ 104 h 336"/>
                  <a:gd name="T14" fmla="*/ 122 w 224"/>
                  <a:gd name="T15" fmla="*/ 336 h 336"/>
                  <a:gd name="T16" fmla="*/ 121 w 224"/>
                  <a:gd name="T17" fmla="*/ 308 h 336"/>
                  <a:gd name="T18" fmla="*/ 2 w 224"/>
                  <a:gd name="T19" fmla="*/ 111 h 336"/>
                  <a:gd name="T20" fmla="*/ 17 w 224"/>
                  <a:gd name="T21" fmla="*/ 84 h 336"/>
                  <a:gd name="T22" fmla="*/ 0 w 224"/>
                  <a:gd name="T23" fmla="*/ 65 h 336"/>
                  <a:gd name="T24" fmla="*/ 0 w 224"/>
                  <a:gd name="T25" fmla="*/ 63 h 336"/>
                  <a:gd name="T26" fmla="*/ 48 w 224"/>
                  <a:gd name="T27" fmla="*/ 8 h 336"/>
                  <a:gd name="T28" fmla="*/ 122 w 224"/>
                  <a:gd name="T29" fmla="*/ 293 h 336"/>
                  <a:gd name="T30" fmla="*/ 160 w 224"/>
                  <a:gd name="T31" fmla="*/ 0 h 3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24" h="336">
                    <a:moveTo>
                      <a:pt x="160" y="0"/>
                    </a:moveTo>
                    <a:cubicBezTo>
                      <a:pt x="160" y="0"/>
                      <a:pt x="160" y="0"/>
                      <a:pt x="161" y="0"/>
                    </a:cubicBezTo>
                    <a:cubicBezTo>
                      <a:pt x="169" y="9"/>
                      <a:pt x="177" y="18"/>
                      <a:pt x="192" y="20"/>
                    </a:cubicBezTo>
                    <a:cubicBezTo>
                      <a:pt x="200" y="35"/>
                      <a:pt x="210" y="48"/>
                      <a:pt x="219" y="62"/>
                    </a:cubicBezTo>
                    <a:cubicBezTo>
                      <a:pt x="217" y="69"/>
                      <a:pt x="206" y="72"/>
                      <a:pt x="202" y="79"/>
                    </a:cubicBezTo>
                    <a:cubicBezTo>
                      <a:pt x="209" y="87"/>
                      <a:pt x="217" y="95"/>
                      <a:pt x="224" y="101"/>
                    </a:cubicBezTo>
                    <a:cubicBezTo>
                      <a:pt x="224" y="102"/>
                      <a:pt x="224" y="104"/>
                      <a:pt x="224" y="104"/>
                    </a:cubicBezTo>
                    <a:cubicBezTo>
                      <a:pt x="197" y="189"/>
                      <a:pt x="160" y="263"/>
                      <a:pt x="122" y="336"/>
                    </a:cubicBezTo>
                    <a:cubicBezTo>
                      <a:pt x="117" y="333"/>
                      <a:pt x="118" y="315"/>
                      <a:pt x="121" y="308"/>
                    </a:cubicBezTo>
                    <a:cubicBezTo>
                      <a:pt x="77" y="247"/>
                      <a:pt x="35" y="184"/>
                      <a:pt x="2" y="111"/>
                    </a:cubicBezTo>
                    <a:cubicBezTo>
                      <a:pt x="6" y="101"/>
                      <a:pt x="12" y="93"/>
                      <a:pt x="17" y="84"/>
                    </a:cubicBezTo>
                    <a:cubicBezTo>
                      <a:pt x="15" y="76"/>
                      <a:pt x="7" y="72"/>
                      <a:pt x="0" y="65"/>
                    </a:cubicBezTo>
                    <a:cubicBezTo>
                      <a:pt x="0" y="65"/>
                      <a:pt x="0" y="64"/>
                      <a:pt x="0" y="63"/>
                    </a:cubicBezTo>
                    <a:cubicBezTo>
                      <a:pt x="16" y="44"/>
                      <a:pt x="25" y="18"/>
                      <a:pt x="48" y="8"/>
                    </a:cubicBezTo>
                    <a:cubicBezTo>
                      <a:pt x="73" y="104"/>
                      <a:pt x="95" y="200"/>
                      <a:pt x="122" y="293"/>
                    </a:cubicBezTo>
                    <a:cubicBezTo>
                      <a:pt x="136" y="198"/>
                      <a:pt x="164" y="114"/>
                      <a:pt x="160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45" name="Freeform 164">
                <a:extLst>
                  <a:ext uri="{FF2B5EF4-FFF2-40B4-BE49-F238E27FC236}">
                    <a16:creationId xmlns:a16="http://schemas.microsoft.com/office/drawing/2014/main" id="{395B5BE2-F082-46D1-950A-82B7E6325B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9611" y="1619255"/>
                <a:ext cx="165099" cy="330202"/>
              </a:xfrm>
              <a:custGeom>
                <a:avLst/>
                <a:gdLst>
                  <a:gd name="T0" fmla="*/ 0 w 44"/>
                  <a:gd name="T1" fmla="*/ 21 h 88"/>
                  <a:gd name="T2" fmla="*/ 0 w 44"/>
                  <a:gd name="T3" fmla="*/ 21 h 88"/>
                  <a:gd name="T4" fmla="*/ 12 w 44"/>
                  <a:gd name="T5" fmla="*/ 0 h 88"/>
                  <a:gd name="T6" fmla="*/ 44 w 44"/>
                  <a:gd name="T7" fmla="*/ 46 h 88"/>
                  <a:gd name="T8" fmla="*/ 19 w 44"/>
                  <a:gd name="T9" fmla="*/ 88 h 88"/>
                  <a:gd name="T10" fmla="*/ 0 w 44"/>
                  <a:gd name="T11" fmla="*/ 21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88">
                    <a:moveTo>
                      <a:pt x="0" y="21"/>
                    </a:moveTo>
                    <a:cubicBezTo>
                      <a:pt x="0" y="21"/>
                      <a:pt x="0" y="21"/>
                      <a:pt x="0" y="21"/>
                    </a:cubicBezTo>
                    <a:cubicBezTo>
                      <a:pt x="8" y="17"/>
                      <a:pt x="6" y="4"/>
                      <a:pt x="12" y="0"/>
                    </a:cubicBezTo>
                    <a:cubicBezTo>
                      <a:pt x="17" y="21"/>
                      <a:pt x="35" y="28"/>
                      <a:pt x="44" y="46"/>
                    </a:cubicBezTo>
                    <a:cubicBezTo>
                      <a:pt x="32" y="56"/>
                      <a:pt x="35" y="82"/>
                      <a:pt x="19" y="88"/>
                    </a:cubicBezTo>
                    <a:cubicBezTo>
                      <a:pt x="11" y="63"/>
                      <a:pt x="8" y="50"/>
                      <a:pt x="0" y="21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46" name="Freeform 165">
                <a:extLst>
                  <a:ext uri="{FF2B5EF4-FFF2-40B4-BE49-F238E27FC236}">
                    <a16:creationId xmlns:a16="http://schemas.microsoft.com/office/drawing/2014/main" id="{CFE6F095-4080-475B-A521-4EEFA187A2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65526" y="1619255"/>
                <a:ext cx="134939" cy="346075"/>
              </a:xfrm>
              <a:custGeom>
                <a:avLst/>
                <a:gdLst>
                  <a:gd name="T0" fmla="*/ 22 w 36"/>
                  <a:gd name="T1" fmla="*/ 0 h 92"/>
                  <a:gd name="T2" fmla="*/ 22 w 36"/>
                  <a:gd name="T3" fmla="*/ 92 h 92"/>
                  <a:gd name="T4" fmla="*/ 0 w 36"/>
                  <a:gd name="T5" fmla="*/ 46 h 92"/>
                  <a:gd name="T6" fmla="*/ 22 w 36"/>
                  <a:gd name="T7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6" h="92">
                    <a:moveTo>
                      <a:pt x="22" y="0"/>
                    </a:moveTo>
                    <a:cubicBezTo>
                      <a:pt x="36" y="13"/>
                      <a:pt x="29" y="69"/>
                      <a:pt x="22" y="92"/>
                    </a:cubicBezTo>
                    <a:cubicBezTo>
                      <a:pt x="3" y="91"/>
                      <a:pt x="8" y="55"/>
                      <a:pt x="0" y="46"/>
                    </a:cubicBezTo>
                    <a:cubicBezTo>
                      <a:pt x="4" y="29"/>
                      <a:pt x="22" y="26"/>
                      <a:pt x="22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47" name="Freeform 166">
                <a:extLst>
                  <a:ext uri="{FF2B5EF4-FFF2-40B4-BE49-F238E27FC236}">
                    <a16:creationId xmlns:a16="http://schemas.microsoft.com/office/drawing/2014/main" id="{3F1FC94F-A6F9-41A6-BA51-77133510E3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6274" y="955678"/>
                <a:ext cx="581026" cy="346075"/>
              </a:xfrm>
              <a:custGeom>
                <a:avLst/>
                <a:gdLst>
                  <a:gd name="T0" fmla="*/ 20 w 155"/>
                  <a:gd name="T1" fmla="*/ 49 h 92"/>
                  <a:gd name="T2" fmla="*/ 54 w 155"/>
                  <a:gd name="T3" fmla="*/ 54 h 92"/>
                  <a:gd name="T4" fmla="*/ 98 w 155"/>
                  <a:gd name="T5" fmla="*/ 59 h 92"/>
                  <a:gd name="T6" fmla="*/ 128 w 155"/>
                  <a:gd name="T7" fmla="*/ 67 h 92"/>
                  <a:gd name="T8" fmla="*/ 136 w 155"/>
                  <a:gd name="T9" fmla="*/ 92 h 92"/>
                  <a:gd name="T10" fmla="*/ 105 w 155"/>
                  <a:gd name="T11" fmla="*/ 5 h 92"/>
                  <a:gd name="T12" fmla="*/ 55 w 155"/>
                  <a:gd name="T13" fmla="*/ 4 h 92"/>
                  <a:gd name="T14" fmla="*/ 24 w 155"/>
                  <a:gd name="T15" fmla="*/ 21 h 92"/>
                  <a:gd name="T16" fmla="*/ 0 w 155"/>
                  <a:gd name="T17" fmla="*/ 45 h 92"/>
                  <a:gd name="T18" fmla="*/ 6 w 155"/>
                  <a:gd name="T19" fmla="*/ 91 h 92"/>
                  <a:gd name="T20" fmla="*/ 7 w 155"/>
                  <a:gd name="T21" fmla="*/ 91 h 92"/>
                  <a:gd name="T22" fmla="*/ 20 w 155"/>
                  <a:gd name="T23" fmla="*/ 49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5" h="92">
                    <a:moveTo>
                      <a:pt x="20" y="49"/>
                    </a:moveTo>
                    <a:cubicBezTo>
                      <a:pt x="28" y="48"/>
                      <a:pt x="33" y="47"/>
                      <a:pt x="54" y="54"/>
                    </a:cubicBezTo>
                    <a:cubicBezTo>
                      <a:pt x="75" y="60"/>
                      <a:pt x="90" y="69"/>
                      <a:pt x="98" y="59"/>
                    </a:cubicBezTo>
                    <a:cubicBezTo>
                      <a:pt x="107" y="49"/>
                      <a:pt x="127" y="62"/>
                      <a:pt x="128" y="67"/>
                    </a:cubicBezTo>
                    <a:cubicBezTo>
                      <a:pt x="130" y="73"/>
                      <a:pt x="136" y="92"/>
                      <a:pt x="136" y="92"/>
                    </a:cubicBezTo>
                    <a:cubicBezTo>
                      <a:pt x="155" y="54"/>
                      <a:pt x="132" y="19"/>
                      <a:pt x="105" y="5"/>
                    </a:cubicBezTo>
                    <a:cubicBezTo>
                      <a:pt x="86" y="5"/>
                      <a:pt x="69" y="0"/>
                      <a:pt x="55" y="4"/>
                    </a:cubicBezTo>
                    <a:cubicBezTo>
                      <a:pt x="43" y="6"/>
                      <a:pt x="34" y="15"/>
                      <a:pt x="24" y="21"/>
                    </a:cubicBezTo>
                    <a:cubicBezTo>
                      <a:pt x="15" y="29"/>
                      <a:pt x="4" y="35"/>
                      <a:pt x="0" y="45"/>
                    </a:cubicBezTo>
                    <a:cubicBezTo>
                      <a:pt x="1" y="62"/>
                      <a:pt x="1" y="77"/>
                      <a:pt x="6" y="91"/>
                    </a:cubicBezTo>
                    <a:cubicBezTo>
                      <a:pt x="7" y="91"/>
                      <a:pt x="7" y="91"/>
                      <a:pt x="7" y="91"/>
                    </a:cubicBezTo>
                    <a:cubicBezTo>
                      <a:pt x="9" y="82"/>
                      <a:pt x="14" y="51"/>
                      <a:pt x="20" y="49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48" name="Freeform 167">
                <a:extLst>
                  <a:ext uri="{FF2B5EF4-FFF2-40B4-BE49-F238E27FC236}">
                    <a16:creationId xmlns:a16="http://schemas.microsoft.com/office/drawing/2014/main" id="{A234D763-3415-49D1-9C4A-60D42BA7E7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16312" y="2133606"/>
                <a:ext cx="71438" cy="96838"/>
              </a:xfrm>
              <a:custGeom>
                <a:avLst/>
                <a:gdLst>
                  <a:gd name="T0" fmla="*/ 5 w 19"/>
                  <a:gd name="T1" fmla="*/ 10 h 26"/>
                  <a:gd name="T2" fmla="*/ 11 w 19"/>
                  <a:gd name="T3" fmla="*/ 2 h 26"/>
                  <a:gd name="T4" fmla="*/ 15 w 19"/>
                  <a:gd name="T5" fmla="*/ 10 h 26"/>
                  <a:gd name="T6" fmla="*/ 0 w 19"/>
                  <a:gd name="T7" fmla="*/ 22 h 26"/>
                  <a:gd name="T8" fmla="*/ 5 w 19"/>
                  <a:gd name="T9" fmla="*/ 1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6">
                    <a:moveTo>
                      <a:pt x="5" y="10"/>
                    </a:moveTo>
                    <a:cubicBezTo>
                      <a:pt x="9" y="6"/>
                      <a:pt x="5" y="0"/>
                      <a:pt x="11" y="2"/>
                    </a:cubicBezTo>
                    <a:cubicBezTo>
                      <a:pt x="16" y="4"/>
                      <a:pt x="19" y="5"/>
                      <a:pt x="15" y="10"/>
                    </a:cubicBezTo>
                    <a:cubicBezTo>
                      <a:pt x="11" y="16"/>
                      <a:pt x="0" y="26"/>
                      <a:pt x="0" y="22"/>
                    </a:cubicBezTo>
                    <a:cubicBezTo>
                      <a:pt x="0" y="19"/>
                      <a:pt x="5" y="10"/>
                      <a:pt x="5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49" name="Freeform 168">
                <a:extLst>
                  <a:ext uri="{FF2B5EF4-FFF2-40B4-BE49-F238E27FC236}">
                    <a16:creationId xmlns:a16="http://schemas.microsoft.com/office/drawing/2014/main" id="{749EDA83-5339-4D12-A24A-729BC8B9F6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7261" y="2354269"/>
                <a:ext cx="71438" cy="93661"/>
              </a:xfrm>
              <a:custGeom>
                <a:avLst/>
                <a:gdLst>
                  <a:gd name="T0" fmla="*/ 6 w 19"/>
                  <a:gd name="T1" fmla="*/ 10 h 25"/>
                  <a:gd name="T2" fmla="*/ 11 w 19"/>
                  <a:gd name="T3" fmla="*/ 2 h 25"/>
                  <a:gd name="T4" fmla="*/ 15 w 19"/>
                  <a:gd name="T5" fmla="*/ 10 h 25"/>
                  <a:gd name="T6" fmla="*/ 0 w 19"/>
                  <a:gd name="T7" fmla="*/ 22 h 25"/>
                  <a:gd name="T8" fmla="*/ 6 w 19"/>
                  <a:gd name="T9" fmla="*/ 1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5">
                    <a:moveTo>
                      <a:pt x="6" y="10"/>
                    </a:moveTo>
                    <a:cubicBezTo>
                      <a:pt x="9" y="5"/>
                      <a:pt x="6" y="0"/>
                      <a:pt x="11" y="2"/>
                    </a:cubicBezTo>
                    <a:cubicBezTo>
                      <a:pt x="16" y="4"/>
                      <a:pt x="19" y="4"/>
                      <a:pt x="15" y="10"/>
                    </a:cubicBezTo>
                    <a:cubicBezTo>
                      <a:pt x="11" y="15"/>
                      <a:pt x="0" y="25"/>
                      <a:pt x="0" y="22"/>
                    </a:cubicBezTo>
                    <a:cubicBezTo>
                      <a:pt x="0" y="19"/>
                      <a:pt x="6" y="10"/>
                      <a:pt x="6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50" name="Freeform 169">
                <a:extLst>
                  <a:ext uri="{FF2B5EF4-FFF2-40B4-BE49-F238E27FC236}">
                    <a16:creationId xmlns:a16="http://schemas.microsoft.com/office/drawing/2014/main" id="{2F26BD01-1A36-4F93-8716-BB7C2B3030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27349" y="2073282"/>
                <a:ext cx="49214" cy="630240"/>
              </a:xfrm>
              <a:custGeom>
                <a:avLst/>
                <a:gdLst>
                  <a:gd name="T0" fmla="*/ 10 w 13"/>
                  <a:gd name="T1" fmla="*/ 168 h 168"/>
                  <a:gd name="T2" fmla="*/ 6 w 13"/>
                  <a:gd name="T3" fmla="*/ 39 h 168"/>
                  <a:gd name="T4" fmla="*/ 6 w 13"/>
                  <a:gd name="T5" fmla="*/ 10 h 168"/>
                  <a:gd name="T6" fmla="*/ 13 w 13"/>
                  <a:gd name="T7" fmla="*/ 10 h 168"/>
                  <a:gd name="T8" fmla="*/ 10 w 13"/>
                  <a:gd name="T9" fmla="*/ 168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68">
                    <a:moveTo>
                      <a:pt x="10" y="168"/>
                    </a:moveTo>
                    <a:cubicBezTo>
                      <a:pt x="10" y="168"/>
                      <a:pt x="11" y="61"/>
                      <a:pt x="6" y="39"/>
                    </a:cubicBezTo>
                    <a:cubicBezTo>
                      <a:pt x="0" y="17"/>
                      <a:pt x="2" y="10"/>
                      <a:pt x="6" y="10"/>
                    </a:cubicBezTo>
                    <a:cubicBezTo>
                      <a:pt x="10" y="10"/>
                      <a:pt x="13" y="0"/>
                      <a:pt x="13" y="10"/>
                    </a:cubicBezTo>
                    <a:cubicBezTo>
                      <a:pt x="13" y="20"/>
                      <a:pt x="10" y="168"/>
                      <a:pt x="10" y="168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51" name="Freeform 170">
                <a:extLst>
                  <a:ext uri="{FF2B5EF4-FFF2-40B4-BE49-F238E27FC236}">
                    <a16:creationId xmlns:a16="http://schemas.microsoft.com/office/drawing/2014/main" id="{AFA887D0-7C8F-456B-B19C-355A465EA5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06853" y="2106619"/>
                <a:ext cx="98425" cy="1320804"/>
              </a:xfrm>
              <a:custGeom>
                <a:avLst/>
                <a:gdLst>
                  <a:gd name="T0" fmla="*/ 26 w 26"/>
                  <a:gd name="T1" fmla="*/ 352 h 352"/>
                  <a:gd name="T2" fmla="*/ 7 w 26"/>
                  <a:gd name="T3" fmla="*/ 213 h 352"/>
                  <a:gd name="T4" fmla="*/ 7 w 26"/>
                  <a:gd name="T5" fmla="*/ 145 h 352"/>
                  <a:gd name="T6" fmla="*/ 0 w 26"/>
                  <a:gd name="T7" fmla="*/ 30 h 352"/>
                  <a:gd name="T8" fmla="*/ 10 w 26"/>
                  <a:gd name="T9" fmla="*/ 0 h 352"/>
                  <a:gd name="T10" fmla="*/ 10 w 26"/>
                  <a:gd name="T11" fmla="*/ 6 h 352"/>
                  <a:gd name="T12" fmla="*/ 26 w 26"/>
                  <a:gd name="T13" fmla="*/ 352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352">
                    <a:moveTo>
                      <a:pt x="26" y="352"/>
                    </a:moveTo>
                    <a:cubicBezTo>
                      <a:pt x="26" y="347"/>
                      <a:pt x="8" y="236"/>
                      <a:pt x="7" y="213"/>
                    </a:cubicBezTo>
                    <a:cubicBezTo>
                      <a:pt x="6" y="189"/>
                      <a:pt x="9" y="165"/>
                      <a:pt x="7" y="145"/>
                    </a:cubicBezTo>
                    <a:cubicBezTo>
                      <a:pt x="5" y="126"/>
                      <a:pt x="0" y="48"/>
                      <a:pt x="0" y="30"/>
                    </a:cubicBezTo>
                    <a:cubicBezTo>
                      <a:pt x="1" y="12"/>
                      <a:pt x="10" y="0"/>
                      <a:pt x="10" y="0"/>
                    </a:cubicBezTo>
                    <a:cubicBezTo>
                      <a:pt x="10" y="6"/>
                      <a:pt x="10" y="6"/>
                      <a:pt x="10" y="6"/>
                    </a:cubicBezTo>
                    <a:lnTo>
                      <a:pt x="26" y="352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52" name="Freeform 171">
                <a:extLst>
                  <a:ext uri="{FF2B5EF4-FFF2-40B4-BE49-F238E27FC236}">
                    <a16:creationId xmlns:a16="http://schemas.microsoft.com/office/drawing/2014/main" id="{31780498-5C36-4900-BD9F-F647ECD73F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0476" y="3135321"/>
                <a:ext cx="222250" cy="58738"/>
              </a:xfrm>
              <a:custGeom>
                <a:avLst/>
                <a:gdLst>
                  <a:gd name="T0" fmla="*/ 0 w 59"/>
                  <a:gd name="T1" fmla="*/ 16 h 16"/>
                  <a:gd name="T2" fmla="*/ 52 w 59"/>
                  <a:gd name="T3" fmla="*/ 7 h 16"/>
                  <a:gd name="T4" fmla="*/ 59 w 59"/>
                  <a:gd name="T5" fmla="*/ 7 h 16"/>
                  <a:gd name="T6" fmla="*/ 0 w 59"/>
                  <a:gd name="T7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9" h="16">
                    <a:moveTo>
                      <a:pt x="0" y="16"/>
                    </a:moveTo>
                    <a:cubicBezTo>
                      <a:pt x="0" y="16"/>
                      <a:pt x="49" y="13"/>
                      <a:pt x="52" y="7"/>
                    </a:cubicBezTo>
                    <a:cubicBezTo>
                      <a:pt x="55" y="0"/>
                      <a:pt x="59" y="3"/>
                      <a:pt x="59" y="7"/>
                    </a:cubicBezTo>
                    <a:cubicBezTo>
                      <a:pt x="58" y="11"/>
                      <a:pt x="0" y="16"/>
                      <a:pt x="0" y="16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53" name="Freeform 172">
                <a:extLst>
                  <a:ext uri="{FF2B5EF4-FFF2-40B4-BE49-F238E27FC236}">
                    <a16:creationId xmlns:a16="http://schemas.microsoft.com/office/drawing/2014/main" id="{78428415-912C-4445-830B-B7E9B2BD80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7627" y="3224223"/>
                <a:ext cx="198440" cy="282574"/>
              </a:xfrm>
              <a:custGeom>
                <a:avLst/>
                <a:gdLst>
                  <a:gd name="T0" fmla="*/ 44 w 53"/>
                  <a:gd name="T1" fmla="*/ 0 h 75"/>
                  <a:gd name="T2" fmla="*/ 53 w 53"/>
                  <a:gd name="T3" fmla="*/ 75 h 75"/>
                  <a:gd name="T4" fmla="*/ 24 w 53"/>
                  <a:gd name="T5" fmla="*/ 75 h 75"/>
                  <a:gd name="T6" fmla="*/ 14 w 53"/>
                  <a:gd name="T7" fmla="*/ 69 h 75"/>
                  <a:gd name="T8" fmla="*/ 34 w 53"/>
                  <a:gd name="T9" fmla="*/ 61 h 75"/>
                  <a:gd name="T10" fmla="*/ 22 w 53"/>
                  <a:gd name="T11" fmla="*/ 38 h 75"/>
                  <a:gd name="T12" fmla="*/ 44 w 53"/>
                  <a:gd name="T1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3" h="75">
                    <a:moveTo>
                      <a:pt x="44" y="0"/>
                    </a:moveTo>
                    <a:cubicBezTo>
                      <a:pt x="53" y="75"/>
                      <a:pt x="53" y="75"/>
                      <a:pt x="53" y="75"/>
                    </a:cubicBezTo>
                    <a:cubicBezTo>
                      <a:pt x="24" y="75"/>
                      <a:pt x="24" y="75"/>
                      <a:pt x="24" y="75"/>
                    </a:cubicBezTo>
                    <a:cubicBezTo>
                      <a:pt x="24" y="75"/>
                      <a:pt x="0" y="69"/>
                      <a:pt x="14" y="69"/>
                    </a:cubicBezTo>
                    <a:cubicBezTo>
                      <a:pt x="29" y="68"/>
                      <a:pt x="42" y="73"/>
                      <a:pt x="34" y="61"/>
                    </a:cubicBezTo>
                    <a:cubicBezTo>
                      <a:pt x="27" y="48"/>
                      <a:pt x="6" y="41"/>
                      <a:pt x="22" y="38"/>
                    </a:cubicBezTo>
                    <a:cubicBezTo>
                      <a:pt x="38" y="34"/>
                      <a:pt x="44" y="0"/>
                      <a:pt x="44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54" name="Freeform 173">
                <a:extLst>
                  <a:ext uri="{FF2B5EF4-FFF2-40B4-BE49-F238E27FC236}">
                    <a16:creationId xmlns:a16="http://schemas.microsoft.com/office/drawing/2014/main" id="{9C3978A7-9382-4E8E-B9D3-E6363D6F0B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59122" y="2576519"/>
                <a:ext cx="60324" cy="490537"/>
              </a:xfrm>
              <a:custGeom>
                <a:avLst/>
                <a:gdLst>
                  <a:gd name="T0" fmla="*/ 0 w 38"/>
                  <a:gd name="T1" fmla="*/ 0 h 309"/>
                  <a:gd name="T2" fmla="*/ 29 w 38"/>
                  <a:gd name="T3" fmla="*/ 309 h 309"/>
                  <a:gd name="T4" fmla="*/ 38 w 38"/>
                  <a:gd name="T5" fmla="*/ 293 h 309"/>
                  <a:gd name="T6" fmla="*/ 0 w 38"/>
                  <a:gd name="T7" fmla="*/ 0 h 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8" h="309">
                    <a:moveTo>
                      <a:pt x="0" y="0"/>
                    </a:moveTo>
                    <a:lnTo>
                      <a:pt x="29" y="309"/>
                    </a:lnTo>
                    <a:lnTo>
                      <a:pt x="38" y="29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55" name="Freeform 174">
                <a:extLst>
                  <a:ext uri="{FF2B5EF4-FFF2-40B4-BE49-F238E27FC236}">
                    <a16:creationId xmlns:a16="http://schemas.microsoft.com/office/drawing/2014/main" id="{E38671D9-6777-4196-B501-67BED0B527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157549"/>
                <a:ext cx="288924" cy="93661"/>
              </a:xfrm>
              <a:custGeom>
                <a:avLst/>
                <a:gdLst>
                  <a:gd name="T0" fmla="*/ 0 w 77"/>
                  <a:gd name="T1" fmla="*/ 0 h 25"/>
                  <a:gd name="T2" fmla="*/ 75 w 77"/>
                  <a:gd name="T3" fmla="*/ 10 h 25"/>
                  <a:gd name="T4" fmla="*/ 68 w 77"/>
                  <a:gd name="T5" fmla="*/ 25 h 25"/>
                  <a:gd name="T6" fmla="*/ 0 w 77"/>
                  <a:gd name="T7" fmla="*/ 12 h 25"/>
                  <a:gd name="T8" fmla="*/ 0 w 77"/>
                  <a:gd name="T9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7" h="25">
                    <a:moveTo>
                      <a:pt x="0" y="0"/>
                    </a:moveTo>
                    <a:cubicBezTo>
                      <a:pt x="0" y="0"/>
                      <a:pt x="73" y="9"/>
                      <a:pt x="75" y="10"/>
                    </a:cubicBezTo>
                    <a:cubicBezTo>
                      <a:pt x="77" y="11"/>
                      <a:pt x="68" y="25"/>
                      <a:pt x="68" y="25"/>
                    </a:cubicBezTo>
                    <a:cubicBezTo>
                      <a:pt x="0" y="12"/>
                      <a:pt x="0" y="12"/>
                      <a:pt x="0" y="12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56" name="Freeform 175">
                <a:extLst>
                  <a:ext uri="{FF2B5EF4-FFF2-40B4-BE49-F238E27FC236}">
                    <a16:creationId xmlns:a16="http://schemas.microsoft.com/office/drawing/2014/main" id="{A5A8D82F-A63B-42F3-BECA-A32A133E9D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333761"/>
                <a:ext cx="242887" cy="236537"/>
              </a:xfrm>
              <a:custGeom>
                <a:avLst/>
                <a:gdLst>
                  <a:gd name="T0" fmla="*/ 65 w 65"/>
                  <a:gd name="T1" fmla="*/ 0 h 63"/>
                  <a:gd name="T2" fmla="*/ 50 w 65"/>
                  <a:gd name="T3" fmla="*/ 60 h 63"/>
                  <a:gd name="T4" fmla="*/ 9 w 65"/>
                  <a:gd name="T5" fmla="*/ 52 h 63"/>
                  <a:gd name="T6" fmla="*/ 18 w 65"/>
                  <a:gd name="T7" fmla="*/ 46 h 63"/>
                  <a:gd name="T8" fmla="*/ 49 w 65"/>
                  <a:gd name="T9" fmla="*/ 46 h 63"/>
                  <a:gd name="T10" fmla="*/ 65 w 65"/>
                  <a:gd name="T11" fmla="*/ 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5" h="63">
                    <a:moveTo>
                      <a:pt x="65" y="0"/>
                    </a:moveTo>
                    <a:cubicBezTo>
                      <a:pt x="50" y="60"/>
                      <a:pt x="50" y="60"/>
                      <a:pt x="50" y="60"/>
                    </a:cubicBezTo>
                    <a:cubicBezTo>
                      <a:pt x="9" y="52"/>
                      <a:pt x="9" y="52"/>
                      <a:pt x="9" y="52"/>
                    </a:cubicBezTo>
                    <a:cubicBezTo>
                      <a:pt x="9" y="52"/>
                      <a:pt x="0" y="47"/>
                      <a:pt x="18" y="46"/>
                    </a:cubicBezTo>
                    <a:cubicBezTo>
                      <a:pt x="36" y="46"/>
                      <a:pt x="48" y="63"/>
                      <a:pt x="49" y="46"/>
                    </a:cubicBezTo>
                    <a:cubicBezTo>
                      <a:pt x="50" y="30"/>
                      <a:pt x="65" y="0"/>
                      <a:pt x="65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57" name="Freeform 176">
                <a:extLst>
                  <a:ext uri="{FF2B5EF4-FFF2-40B4-BE49-F238E27FC236}">
                    <a16:creationId xmlns:a16="http://schemas.microsoft.com/office/drawing/2014/main" id="{9FB99ACE-FA4F-45CB-86C0-45476E9FF7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0183" y="2201870"/>
                <a:ext cx="41274" cy="168276"/>
              </a:xfrm>
              <a:custGeom>
                <a:avLst/>
                <a:gdLst>
                  <a:gd name="T0" fmla="*/ 0 w 11"/>
                  <a:gd name="T1" fmla="*/ 0 h 45"/>
                  <a:gd name="T2" fmla="*/ 0 w 11"/>
                  <a:gd name="T3" fmla="*/ 21 h 45"/>
                  <a:gd name="T4" fmla="*/ 2 w 11"/>
                  <a:gd name="T5" fmla="*/ 42 h 45"/>
                  <a:gd name="T6" fmla="*/ 10 w 11"/>
                  <a:gd name="T7" fmla="*/ 5 h 45"/>
                  <a:gd name="T8" fmla="*/ 0 w 11"/>
                  <a:gd name="T9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45">
                    <a:moveTo>
                      <a:pt x="0" y="0"/>
                    </a:moveTo>
                    <a:cubicBezTo>
                      <a:pt x="0" y="5"/>
                      <a:pt x="0" y="13"/>
                      <a:pt x="0" y="21"/>
                    </a:cubicBezTo>
                    <a:cubicBezTo>
                      <a:pt x="1" y="31"/>
                      <a:pt x="2" y="41"/>
                      <a:pt x="2" y="42"/>
                    </a:cubicBezTo>
                    <a:cubicBezTo>
                      <a:pt x="4" y="45"/>
                      <a:pt x="11" y="8"/>
                      <a:pt x="10" y="5"/>
                    </a:cubicBezTo>
                    <a:cubicBezTo>
                      <a:pt x="8" y="2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58" name="Freeform 177">
                <a:extLst>
                  <a:ext uri="{FF2B5EF4-FFF2-40B4-BE49-F238E27FC236}">
                    <a16:creationId xmlns:a16="http://schemas.microsoft.com/office/drawing/2014/main" id="{C6CCE497-59B8-4034-A39B-DE26ACAB42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1758" y="2786069"/>
                <a:ext cx="150812" cy="352425"/>
              </a:xfrm>
              <a:custGeom>
                <a:avLst/>
                <a:gdLst>
                  <a:gd name="T0" fmla="*/ 0 w 40"/>
                  <a:gd name="T1" fmla="*/ 0 h 94"/>
                  <a:gd name="T2" fmla="*/ 20 w 40"/>
                  <a:gd name="T3" fmla="*/ 64 h 94"/>
                  <a:gd name="T4" fmla="*/ 36 w 40"/>
                  <a:gd name="T5" fmla="*/ 82 h 94"/>
                  <a:gd name="T6" fmla="*/ 14 w 40"/>
                  <a:gd name="T7" fmla="*/ 26 h 94"/>
                  <a:gd name="T8" fmla="*/ 0 w 40"/>
                  <a:gd name="T9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94">
                    <a:moveTo>
                      <a:pt x="0" y="0"/>
                    </a:moveTo>
                    <a:cubicBezTo>
                      <a:pt x="0" y="0"/>
                      <a:pt x="12" y="47"/>
                      <a:pt x="20" y="64"/>
                    </a:cubicBezTo>
                    <a:cubicBezTo>
                      <a:pt x="28" y="82"/>
                      <a:pt x="40" y="94"/>
                      <a:pt x="36" y="82"/>
                    </a:cubicBezTo>
                    <a:cubicBezTo>
                      <a:pt x="32" y="69"/>
                      <a:pt x="20" y="36"/>
                      <a:pt x="14" y="26"/>
                    </a:cubicBezTo>
                    <a:cubicBezTo>
                      <a:pt x="9" y="1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59" name="Freeform 178">
                <a:extLst>
                  <a:ext uri="{FF2B5EF4-FFF2-40B4-BE49-F238E27FC236}">
                    <a16:creationId xmlns:a16="http://schemas.microsoft.com/office/drawing/2014/main" id="{2DE8C833-1F4C-444E-9CAD-A4542A6E8A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9736" y="2860684"/>
                <a:ext cx="49214" cy="247650"/>
              </a:xfrm>
              <a:custGeom>
                <a:avLst/>
                <a:gdLst>
                  <a:gd name="T0" fmla="*/ 0 w 13"/>
                  <a:gd name="T1" fmla="*/ 0 h 66"/>
                  <a:gd name="T2" fmla="*/ 10 w 13"/>
                  <a:gd name="T3" fmla="*/ 31 h 66"/>
                  <a:gd name="T4" fmla="*/ 6 w 13"/>
                  <a:gd name="T5" fmla="*/ 50 h 66"/>
                  <a:gd name="T6" fmla="*/ 0 w 13"/>
                  <a:gd name="T7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66">
                    <a:moveTo>
                      <a:pt x="0" y="0"/>
                    </a:moveTo>
                    <a:cubicBezTo>
                      <a:pt x="0" y="0"/>
                      <a:pt x="13" y="15"/>
                      <a:pt x="10" y="31"/>
                    </a:cubicBezTo>
                    <a:cubicBezTo>
                      <a:pt x="8" y="47"/>
                      <a:pt x="5" y="66"/>
                      <a:pt x="6" y="50"/>
                    </a:cubicBezTo>
                    <a:cubicBezTo>
                      <a:pt x="6" y="3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60" name="Freeform 188">
                <a:extLst>
                  <a:ext uri="{FF2B5EF4-FFF2-40B4-BE49-F238E27FC236}">
                    <a16:creationId xmlns:a16="http://schemas.microsoft.com/office/drawing/2014/main" id="{1410CE0F-B453-41D9-8BC2-57BD722BF4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01994" y="1544640"/>
                <a:ext cx="349252" cy="131762"/>
              </a:xfrm>
              <a:custGeom>
                <a:avLst/>
                <a:gdLst>
                  <a:gd name="T0" fmla="*/ 0 w 93"/>
                  <a:gd name="T1" fmla="*/ 0 h 35"/>
                  <a:gd name="T2" fmla="*/ 33 w 93"/>
                  <a:gd name="T3" fmla="*/ 29 h 35"/>
                  <a:gd name="T4" fmla="*/ 68 w 93"/>
                  <a:gd name="T5" fmla="*/ 24 h 35"/>
                  <a:gd name="T6" fmla="*/ 85 w 93"/>
                  <a:gd name="T7" fmla="*/ 7 h 35"/>
                  <a:gd name="T8" fmla="*/ 92 w 93"/>
                  <a:gd name="T9" fmla="*/ 6 h 35"/>
                  <a:gd name="T10" fmla="*/ 85 w 93"/>
                  <a:gd name="T11" fmla="*/ 19 h 35"/>
                  <a:gd name="T12" fmla="*/ 67 w 93"/>
                  <a:gd name="T13" fmla="*/ 32 h 35"/>
                  <a:gd name="T14" fmla="*/ 28 w 93"/>
                  <a:gd name="T15" fmla="*/ 32 h 35"/>
                  <a:gd name="T16" fmla="*/ 0 w 93"/>
                  <a:gd name="T17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3" h="35">
                    <a:moveTo>
                      <a:pt x="0" y="0"/>
                    </a:moveTo>
                    <a:cubicBezTo>
                      <a:pt x="2" y="4"/>
                      <a:pt x="21" y="25"/>
                      <a:pt x="33" y="29"/>
                    </a:cubicBezTo>
                    <a:cubicBezTo>
                      <a:pt x="45" y="32"/>
                      <a:pt x="63" y="29"/>
                      <a:pt x="68" y="24"/>
                    </a:cubicBezTo>
                    <a:cubicBezTo>
                      <a:pt x="73" y="19"/>
                      <a:pt x="84" y="9"/>
                      <a:pt x="85" y="7"/>
                    </a:cubicBezTo>
                    <a:cubicBezTo>
                      <a:pt x="86" y="5"/>
                      <a:pt x="93" y="1"/>
                      <a:pt x="92" y="6"/>
                    </a:cubicBezTo>
                    <a:cubicBezTo>
                      <a:pt x="91" y="10"/>
                      <a:pt x="89" y="14"/>
                      <a:pt x="85" y="19"/>
                    </a:cubicBezTo>
                    <a:cubicBezTo>
                      <a:pt x="82" y="24"/>
                      <a:pt x="75" y="33"/>
                      <a:pt x="67" y="32"/>
                    </a:cubicBezTo>
                    <a:cubicBezTo>
                      <a:pt x="58" y="32"/>
                      <a:pt x="36" y="35"/>
                      <a:pt x="28" y="32"/>
                    </a:cubicBezTo>
                    <a:cubicBezTo>
                      <a:pt x="19" y="3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61" name="Freeform 103">
                <a:extLst>
                  <a:ext uri="{FF2B5EF4-FFF2-40B4-BE49-F238E27FC236}">
                    <a16:creationId xmlns:a16="http://schemas.microsoft.com/office/drawing/2014/main" id="{839A9C8C-5E30-46DB-85A0-E69ED7539C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3697" y="1061826"/>
                <a:ext cx="226796" cy="66888"/>
              </a:xfrm>
              <a:custGeom>
                <a:avLst/>
                <a:gdLst>
                  <a:gd name="T0" fmla="*/ 9 w 49"/>
                  <a:gd name="T1" fmla="*/ 1 h 23"/>
                  <a:gd name="T2" fmla="*/ 24 w 49"/>
                  <a:gd name="T3" fmla="*/ 8 h 23"/>
                  <a:gd name="T4" fmla="*/ 31 w 49"/>
                  <a:gd name="T5" fmla="*/ 7 h 23"/>
                  <a:gd name="T6" fmla="*/ 44 w 49"/>
                  <a:gd name="T7" fmla="*/ 17 h 23"/>
                  <a:gd name="T8" fmla="*/ 37 w 49"/>
                  <a:gd name="T9" fmla="*/ 17 h 23"/>
                  <a:gd name="T10" fmla="*/ 13 w 49"/>
                  <a:gd name="T11" fmla="*/ 10 h 23"/>
                  <a:gd name="T12" fmla="*/ 9 w 49"/>
                  <a:gd name="T13" fmla="*/ 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" h="23">
                    <a:moveTo>
                      <a:pt x="9" y="1"/>
                    </a:moveTo>
                    <a:cubicBezTo>
                      <a:pt x="9" y="1"/>
                      <a:pt x="20" y="7"/>
                      <a:pt x="24" y="8"/>
                    </a:cubicBezTo>
                    <a:cubicBezTo>
                      <a:pt x="28" y="9"/>
                      <a:pt x="31" y="9"/>
                      <a:pt x="31" y="7"/>
                    </a:cubicBezTo>
                    <a:cubicBezTo>
                      <a:pt x="31" y="4"/>
                      <a:pt x="40" y="11"/>
                      <a:pt x="44" y="17"/>
                    </a:cubicBezTo>
                    <a:cubicBezTo>
                      <a:pt x="49" y="23"/>
                      <a:pt x="44" y="21"/>
                      <a:pt x="37" y="17"/>
                    </a:cubicBezTo>
                    <a:cubicBezTo>
                      <a:pt x="30" y="13"/>
                      <a:pt x="20" y="15"/>
                      <a:pt x="13" y="10"/>
                    </a:cubicBezTo>
                    <a:cubicBezTo>
                      <a:pt x="6" y="5"/>
                      <a:pt x="0" y="0"/>
                      <a:pt x="9" y="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62" name="Freeform 104">
                <a:extLst>
                  <a:ext uri="{FF2B5EF4-FFF2-40B4-BE49-F238E27FC236}">
                    <a16:creationId xmlns:a16="http://schemas.microsoft.com/office/drawing/2014/main" id="{005ECC25-8E18-4ED2-B6D9-ADA66B4AA48E}"/>
                  </a:ext>
                </a:extLst>
              </p:cNvPr>
              <p:cNvSpPr>
                <a:spLocks/>
              </p:cNvSpPr>
              <p:nvPr/>
            </p:nvSpPr>
            <p:spPr bwMode="auto">
              <a:xfrm rot="18643239">
                <a:off x="3555600" y="1040771"/>
                <a:ext cx="87944" cy="175885"/>
              </a:xfrm>
              <a:custGeom>
                <a:avLst/>
                <a:gdLst>
                  <a:gd name="T0" fmla="*/ 12 w 30"/>
                  <a:gd name="T1" fmla="*/ 25 h 60"/>
                  <a:gd name="T2" fmla="*/ 20 w 30"/>
                  <a:gd name="T3" fmla="*/ 19 h 60"/>
                  <a:gd name="T4" fmla="*/ 22 w 30"/>
                  <a:gd name="T5" fmla="*/ 4 h 60"/>
                  <a:gd name="T6" fmla="*/ 24 w 30"/>
                  <a:gd name="T7" fmla="*/ 26 h 60"/>
                  <a:gd name="T8" fmla="*/ 21 w 30"/>
                  <a:gd name="T9" fmla="*/ 37 h 60"/>
                  <a:gd name="T10" fmla="*/ 14 w 30"/>
                  <a:gd name="T11" fmla="*/ 48 h 60"/>
                  <a:gd name="T12" fmla="*/ 8 w 30"/>
                  <a:gd name="T13" fmla="*/ 35 h 60"/>
                  <a:gd name="T14" fmla="*/ 12 w 30"/>
                  <a:gd name="T15" fmla="*/ 25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60">
                    <a:moveTo>
                      <a:pt x="12" y="25"/>
                    </a:moveTo>
                    <a:cubicBezTo>
                      <a:pt x="12" y="25"/>
                      <a:pt x="17" y="24"/>
                      <a:pt x="20" y="19"/>
                    </a:cubicBezTo>
                    <a:cubicBezTo>
                      <a:pt x="24" y="14"/>
                      <a:pt x="22" y="8"/>
                      <a:pt x="22" y="4"/>
                    </a:cubicBezTo>
                    <a:cubicBezTo>
                      <a:pt x="21" y="0"/>
                      <a:pt x="30" y="16"/>
                      <a:pt x="24" y="26"/>
                    </a:cubicBezTo>
                    <a:cubicBezTo>
                      <a:pt x="24" y="26"/>
                      <a:pt x="21" y="34"/>
                      <a:pt x="21" y="37"/>
                    </a:cubicBezTo>
                    <a:cubicBezTo>
                      <a:pt x="21" y="40"/>
                      <a:pt x="20" y="46"/>
                      <a:pt x="14" y="48"/>
                    </a:cubicBezTo>
                    <a:cubicBezTo>
                      <a:pt x="8" y="50"/>
                      <a:pt x="0" y="60"/>
                      <a:pt x="8" y="35"/>
                    </a:cubicBezTo>
                    <a:lnTo>
                      <a:pt x="12" y="25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85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</p:grpSp>
      <p:sp>
        <p:nvSpPr>
          <p:cNvPr id="498" name="Rectangle 497">
            <a:extLst>
              <a:ext uri="{FF2B5EF4-FFF2-40B4-BE49-F238E27FC236}">
                <a16:creationId xmlns:a16="http://schemas.microsoft.com/office/drawing/2014/main" id="{03FCC5B3-8411-4573-ACBC-623FDAE126E2}"/>
              </a:ext>
            </a:extLst>
          </p:cNvPr>
          <p:cNvSpPr/>
          <p:nvPr/>
        </p:nvSpPr>
        <p:spPr>
          <a:xfrm>
            <a:off x="-484313" y="3072926"/>
            <a:ext cx="7308850" cy="1323975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defTabSz="417643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4000" b="1" dirty="0">
                <a:solidFill>
                  <a:schemeClr val="accent4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Enterprise</a:t>
            </a:r>
          </a:p>
          <a:p>
            <a:pPr algn="ctr" defTabSz="417643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4000" b="1" dirty="0">
                <a:solidFill>
                  <a:schemeClr val="accent4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&amp; Portfolio</a:t>
            </a:r>
          </a:p>
        </p:txBody>
      </p:sp>
      <p:sp>
        <p:nvSpPr>
          <p:cNvPr id="331" name="ZoneTexte 330">
            <a:extLst>
              <a:ext uri="{FF2B5EF4-FFF2-40B4-BE49-F238E27FC236}">
                <a16:creationId xmlns:a16="http://schemas.microsoft.com/office/drawing/2014/main" id="{43BD264F-4600-4814-9228-A5534FA6930B}"/>
              </a:ext>
            </a:extLst>
          </p:cNvPr>
          <p:cNvSpPr txBox="1"/>
          <p:nvPr/>
        </p:nvSpPr>
        <p:spPr>
          <a:xfrm>
            <a:off x="33179564" y="4493738"/>
            <a:ext cx="3712876" cy="69801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 defTabSz="4280752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4800" b="1" kern="0" dirty="0">
                <a:solidFill>
                  <a:srgbClr val="44546A"/>
                </a:solidFill>
                <a:latin typeface="Calibri"/>
              </a:rPr>
              <a:t>IS PORTFOLIO</a:t>
            </a:r>
          </a:p>
        </p:txBody>
      </p:sp>
      <p:sp>
        <p:nvSpPr>
          <p:cNvPr id="327" name="Rectangle 326">
            <a:extLst>
              <a:ext uri="{FF2B5EF4-FFF2-40B4-BE49-F238E27FC236}">
                <a16:creationId xmlns:a16="http://schemas.microsoft.com/office/drawing/2014/main" id="{C8422ED4-D5D4-452B-8A95-160A7F3B6EEC}"/>
              </a:ext>
            </a:extLst>
          </p:cNvPr>
          <p:cNvSpPr/>
          <p:nvPr/>
        </p:nvSpPr>
        <p:spPr>
          <a:xfrm>
            <a:off x="31378400" y="5089051"/>
            <a:ext cx="6951662" cy="1284006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defTabSz="4280752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3200" kern="0" dirty="0">
                <a:solidFill>
                  <a:srgbClr val="1F497D"/>
                </a:solidFill>
                <a:latin typeface="+mn-lt"/>
              </a:rPr>
              <a:t>FUNCTIONAL</a:t>
            </a:r>
            <a:r>
              <a:rPr lang="fr-FR" sz="3200" kern="0" dirty="0">
                <a:solidFill>
                  <a:srgbClr val="44546A"/>
                </a:solidFill>
                <a:latin typeface="+mn-lt"/>
              </a:rPr>
              <a:t> DEBT </a:t>
            </a:r>
          </a:p>
          <a:p>
            <a:pPr algn="ctr" defTabSz="4280752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3200" kern="0" dirty="0">
                <a:solidFill>
                  <a:srgbClr val="1F497D"/>
                </a:solidFill>
                <a:latin typeface="Calibri"/>
              </a:rPr>
              <a:t>OBSOLESCENCE MANAGEMENT</a:t>
            </a:r>
          </a:p>
          <a:p>
            <a:pPr algn="ctr" defTabSz="4280752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3200" kern="0" dirty="0">
                <a:solidFill>
                  <a:srgbClr val="1F497D"/>
                </a:solidFill>
                <a:latin typeface="Calibri"/>
              </a:rPr>
              <a:t>DECOMMISSIONING</a:t>
            </a:r>
          </a:p>
        </p:txBody>
      </p:sp>
      <p:sp>
        <p:nvSpPr>
          <p:cNvPr id="308" name="ZoneTexte 307">
            <a:extLst>
              <a:ext uri="{FF2B5EF4-FFF2-40B4-BE49-F238E27FC236}">
                <a16:creationId xmlns:a16="http://schemas.microsoft.com/office/drawing/2014/main" id="{8DE40108-AE93-406A-B676-65F388E0A937}"/>
              </a:ext>
            </a:extLst>
          </p:cNvPr>
          <p:cNvSpPr txBox="1"/>
          <p:nvPr/>
        </p:nvSpPr>
        <p:spPr>
          <a:xfrm>
            <a:off x="26952664" y="10489726"/>
            <a:ext cx="5339923" cy="69801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 defTabSz="4280752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4800" b="1" kern="0" dirty="0">
                <a:solidFill>
                  <a:srgbClr val="44546A"/>
                </a:solidFill>
                <a:latin typeface="Calibri"/>
              </a:rPr>
              <a:t>CONNECT THE DOTS</a:t>
            </a:r>
          </a:p>
        </p:txBody>
      </p:sp>
      <p:sp>
        <p:nvSpPr>
          <p:cNvPr id="300" name="Rectangle 299">
            <a:extLst>
              <a:ext uri="{FF2B5EF4-FFF2-40B4-BE49-F238E27FC236}">
                <a16:creationId xmlns:a16="http://schemas.microsoft.com/office/drawing/2014/main" id="{4BD0EA48-DDF4-4D9C-91DF-7708CBA84F60}"/>
              </a:ext>
            </a:extLst>
          </p:cNvPr>
          <p:cNvSpPr/>
          <p:nvPr/>
        </p:nvSpPr>
        <p:spPr>
          <a:xfrm>
            <a:off x="24779162" y="11091388"/>
            <a:ext cx="9158288" cy="18748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defTabSz="4280752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600" b="1" kern="0" dirty="0">
                <a:solidFill>
                  <a:srgbClr val="4BACC6"/>
                </a:solidFill>
                <a:latin typeface="Calibri"/>
              </a:rPr>
              <a:t>Global &amp; local dialog</a:t>
            </a:r>
          </a:p>
          <a:p>
            <a:pPr algn="ctr" defTabSz="4280752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3600" kern="0" dirty="0">
                <a:solidFill>
                  <a:srgbClr val="44546A"/>
                </a:solidFill>
                <a:latin typeface="+mn-lt"/>
              </a:rPr>
              <a:t>DECISION MAKER</a:t>
            </a:r>
          </a:p>
          <a:p>
            <a:pPr algn="ctr" defTabSz="4280752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3600" kern="0" dirty="0">
                <a:solidFill>
                  <a:srgbClr val="44546A"/>
                </a:solidFill>
                <a:latin typeface="+mn-lt"/>
              </a:rPr>
              <a:t>TRADE OFF</a:t>
            </a:r>
          </a:p>
          <a:p>
            <a:pPr algn="ctr" defTabSz="4280752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fr-FR" sz="3600" b="1" kern="0" dirty="0">
              <a:solidFill>
                <a:srgbClr val="44546A"/>
              </a:solidFill>
              <a:latin typeface="Calibri"/>
            </a:endParaRPr>
          </a:p>
        </p:txBody>
      </p:sp>
      <p:sp>
        <p:nvSpPr>
          <p:cNvPr id="504" name="Ellipse 503">
            <a:extLst>
              <a:ext uri="{FF2B5EF4-FFF2-40B4-BE49-F238E27FC236}">
                <a16:creationId xmlns:a16="http://schemas.microsoft.com/office/drawing/2014/main" id="{F9537833-9D35-4427-8206-BBF777A89425}"/>
              </a:ext>
            </a:extLst>
          </p:cNvPr>
          <p:cNvSpPr/>
          <p:nvPr/>
        </p:nvSpPr>
        <p:spPr>
          <a:xfrm>
            <a:off x="6746750" y="22267388"/>
            <a:ext cx="1693862" cy="1700213"/>
          </a:xfrm>
          <a:prstGeom prst="ellipse">
            <a:avLst/>
          </a:prstGeom>
          <a:solidFill>
            <a:schemeClr val="bg1"/>
          </a:solidFill>
          <a:ln w="152400">
            <a:solidFill>
              <a:srgbClr val="FAB9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168538" rIns="0" bIns="168538" anchor="ctr"/>
          <a:lstStyle/>
          <a:p>
            <a:pPr algn="ctr" defTabSz="417643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000" b="1" dirty="0">
                <a:solidFill>
                  <a:srgbClr val="FFC000"/>
                </a:solidFill>
                <a:latin typeface="Michelin SemiBold"/>
              </a:rPr>
              <a:t>TEAM</a:t>
            </a:r>
          </a:p>
          <a:p>
            <a:pPr algn="ctr" defTabSz="417643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000" b="1" dirty="0">
                <a:solidFill>
                  <a:srgbClr val="FFC000"/>
                </a:solidFill>
                <a:latin typeface="Michelin SemiBold"/>
              </a:rPr>
              <a:t>LEADER</a:t>
            </a:r>
          </a:p>
        </p:txBody>
      </p:sp>
      <p:sp>
        <p:nvSpPr>
          <p:cNvPr id="505" name="Ellipse 504">
            <a:extLst>
              <a:ext uri="{FF2B5EF4-FFF2-40B4-BE49-F238E27FC236}">
                <a16:creationId xmlns:a16="http://schemas.microsoft.com/office/drawing/2014/main" id="{FA5A9565-7F94-4E28-9A71-438C03DA5385}"/>
              </a:ext>
            </a:extLst>
          </p:cNvPr>
          <p:cNvSpPr/>
          <p:nvPr/>
        </p:nvSpPr>
        <p:spPr>
          <a:xfrm>
            <a:off x="152274" y="21907232"/>
            <a:ext cx="5103813" cy="2614612"/>
          </a:xfrm>
          <a:prstGeom prst="ellipse">
            <a:avLst/>
          </a:prstGeom>
          <a:noFill/>
          <a:ln w="9525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68538" tIns="168538" rIns="168538" bIns="168538" anchor="ctr"/>
          <a:lstStyle/>
          <a:p>
            <a:pPr algn="ctr" defTabSz="417643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4000" b="1" dirty="0">
                <a:solidFill>
                  <a:srgbClr val="FFC000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Business</a:t>
            </a:r>
          </a:p>
          <a:p>
            <a:pPr algn="ctr" defTabSz="417643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4000" b="1" dirty="0">
                <a:solidFill>
                  <a:srgbClr val="FFC000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Domain</a:t>
            </a:r>
          </a:p>
        </p:txBody>
      </p:sp>
      <p:grpSp>
        <p:nvGrpSpPr>
          <p:cNvPr id="6212" name="Groupe 505">
            <a:extLst>
              <a:ext uri="{FF2B5EF4-FFF2-40B4-BE49-F238E27FC236}">
                <a16:creationId xmlns:a16="http://schemas.microsoft.com/office/drawing/2014/main" id="{99E42C2C-2787-49A8-8CE1-DB9C589B9893}"/>
              </a:ext>
            </a:extLst>
          </p:cNvPr>
          <p:cNvGrpSpPr>
            <a:grpSpLocks/>
          </p:cNvGrpSpPr>
          <p:nvPr/>
        </p:nvGrpSpPr>
        <p:grpSpPr bwMode="auto">
          <a:xfrm>
            <a:off x="2658937" y="20273488"/>
            <a:ext cx="2524125" cy="2474913"/>
            <a:chOff x="2335614" y="3820290"/>
            <a:chExt cx="653239" cy="560864"/>
          </a:xfrm>
        </p:grpSpPr>
        <p:sp>
          <p:nvSpPr>
            <p:cNvPr id="507" name="Ellipse 506">
              <a:extLst>
                <a:ext uri="{FF2B5EF4-FFF2-40B4-BE49-F238E27FC236}">
                  <a16:creationId xmlns:a16="http://schemas.microsoft.com/office/drawing/2014/main" id="{A7852FF6-8717-463D-8C49-04FB8A8A4A69}"/>
                </a:ext>
              </a:extLst>
            </p:cNvPr>
            <p:cNvSpPr/>
            <p:nvPr/>
          </p:nvSpPr>
          <p:spPr bwMode="auto">
            <a:xfrm>
              <a:off x="2335614" y="3917291"/>
              <a:ext cx="653239" cy="463863"/>
            </a:xfrm>
            <a:prstGeom prst="ellipse">
              <a:avLst/>
            </a:prstGeom>
            <a:solidFill>
              <a:srgbClr val="FFC000"/>
            </a:solidFill>
            <a:ln w="76200">
              <a:noFill/>
              <a:round/>
              <a:headEnd/>
              <a:tailEnd/>
            </a:ln>
            <a:effectLst>
              <a:outerShdw blurRad="419100" dist="38100" dir="5400000" sx="107000" sy="107000" algn="t" rotWithShape="0">
                <a:prstClr val="black">
                  <a:alpha val="34000"/>
                </a:prstClr>
              </a:outerShdw>
            </a:effectLst>
            <a:scene3d>
              <a:camera prst="perspectiveRelaxedModerately">
                <a:rot lat="17390630" lon="0" rev="0"/>
              </a:camera>
              <a:lightRig rig="threePt" dir="t"/>
            </a:scene3d>
            <a:sp3d extrusionH="190500" prstMaterial="matte"/>
          </p:spPr>
          <p:txBody>
            <a:bodyPr lIns="0" tIns="0" rIns="0" bIns="0" anchor="ctr"/>
            <a:lstStyle/>
            <a:p>
              <a:pPr algn="ctr" defTabSz="4280752" eaLnBrk="1" fontAlgn="auto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7200" b="1" kern="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pic>
          <p:nvPicPr>
            <p:cNvPr id="508" name="_effect" descr="C:\Users\marc.h\Desktop\Schatten-TEST.png">
              <a:extLst>
                <a:ext uri="{FF2B5EF4-FFF2-40B4-BE49-F238E27FC236}">
                  <a16:creationId xmlns:a16="http://schemas.microsoft.com/office/drawing/2014/main" id="{15992056-8163-486C-8C38-476852B6862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 flipH="1">
              <a:off x="2441611" y="4131841"/>
              <a:ext cx="441244" cy="66196"/>
            </a:xfrm>
            <a:prstGeom prst="rect">
              <a:avLst/>
            </a:prstGeom>
            <a:noFill/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</p:pic>
        <p:grpSp>
          <p:nvGrpSpPr>
            <p:cNvPr id="509" name="Gruppieren 96">
              <a:extLst>
                <a:ext uri="{FF2B5EF4-FFF2-40B4-BE49-F238E27FC236}">
                  <a16:creationId xmlns:a16="http://schemas.microsoft.com/office/drawing/2014/main" id="{B70E71E4-0A94-46E5-99B7-5FD4AA5A1CF9}"/>
                </a:ext>
              </a:extLst>
            </p:cNvPr>
            <p:cNvGrpSpPr/>
            <p:nvPr/>
          </p:nvGrpSpPr>
          <p:grpSpPr>
            <a:xfrm>
              <a:off x="2435114" y="3833767"/>
              <a:ext cx="159492" cy="328959"/>
              <a:chOff x="2519371" y="955678"/>
              <a:chExt cx="1695457" cy="4968890"/>
            </a:xfrm>
            <a:solidFill>
              <a:schemeClr val="tx1"/>
            </a:solidFill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grpSpPr>
          <p:sp>
            <p:nvSpPr>
              <p:cNvPr id="548" name="Freeform 156">
                <a:extLst>
                  <a:ext uri="{FF2B5EF4-FFF2-40B4-BE49-F238E27FC236}">
                    <a16:creationId xmlns:a16="http://schemas.microsoft.com/office/drawing/2014/main" id="{16FF1371-F190-4758-98B9-9ECC4A55F04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84626" y="3435360"/>
                <a:ext cx="269878" cy="404813"/>
              </a:xfrm>
              <a:custGeom>
                <a:avLst/>
                <a:gdLst>
                  <a:gd name="T0" fmla="*/ 29 w 72"/>
                  <a:gd name="T1" fmla="*/ 0 h 108"/>
                  <a:gd name="T2" fmla="*/ 37 w 72"/>
                  <a:gd name="T3" fmla="*/ 0 h 108"/>
                  <a:gd name="T4" fmla="*/ 68 w 72"/>
                  <a:gd name="T5" fmla="*/ 6 h 108"/>
                  <a:gd name="T6" fmla="*/ 70 w 72"/>
                  <a:gd name="T7" fmla="*/ 58 h 108"/>
                  <a:gd name="T8" fmla="*/ 60 w 72"/>
                  <a:gd name="T9" fmla="*/ 78 h 108"/>
                  <a:gd name="T10" fmla="*/ 14 w 72"/>
                  <a:gd name="T11" fmla="*/ 108 h 108"/>
                  <a:gd name="T12" fmla="*/ 5 w 72"/>
                  <a:gd name="T13" fmla="*/ 102 h 108"/>
                  <a:gd name="T14" fmla="*/ 13 w 72"/>
                  <a:gd name="T15" fmla="*/ 80 h 108"/>
                  <a:gd name="T16" fmla="*/ 15 w 72"/>
                  <a:gd name="T17" fmla="*/ 6 h 108"/>
                  <a:gd name="T18" fmla="*/ 29 w 72"/>
                  <a:gd name="T19" fmla="*/ 0 h 108"/>
                  <a:gd name="T20" fmla="*/ 28 w 72"/>
                  <a:gd name="T21" fmla="*/ 81 h 108"/>
                  <a:gd name="T22" fmla="*/ 41 w 72"/>
                  <a:gd name="T23" fmla="*/ 53 h 108"/>
                  <a:gd name="T24" fmla="*/ 33 w 72"/>
                  <a:gd name="T25" fmla="*/ 51 h 108"/>
                  <a:gd name="T26" fmla="*/ 28 w 72"/>
                  <a:gd name="T27" fmla="*/ 81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2" h="108">
                    <a:moveTo>
                      <a:pt x="29" y="0"/>
                    </a:moveTo>
                    <a:cubicBezTo>
                      <a:pt x="32" y="0"/>
                      <a:pt x="34" y="0"/>
                      <a:pt x="37" y="0"/>
                    </a:cubicBezTo>
                    <a:cubicBezTo>
                      <a:pt x="45" y="3"/>
                      <a:pt x="60" y="2"/>
                      <a:pt x="68" y="6"/>
                    </a:cubicBezTo>
                    <a:cubicBezTo>
                      <a:pt x="67" y="23"/>
                      <a:pt x="72" y="43"/>
                      <a:pt x="70" y="58"/>
                    </a:cubicBezTo>
                    <a:cubicBezTo>
                      <a:pt x="68" y="65"/>
                      <a:pt x="63" y="72"/>
                      <a:pt x="60" y="78"/>
                    </a:cubicBezTo>
                    <a:cubicBezTo>
                      <a:pt x="49" y="98"/>
                      <a:pt x="39" y="102"/>
                      <a:pt x="14" y="108"/>
                    </a:cubicBezTo>
                    <a:cubicBezTo>
                      <a:pt x="17" y="101"/>
                      <a:pt x="5" y="107"/>
                      <a:pt x="5" y="102"/>
                    </a:cubicBezTo>
                    <a:cubicBezTo>
                      <a:pt x="0" y="90"/>
                      <a:pt x="6" y="87"/>
                      <a:pt x="13" y="80"/>
                    </a:cubicBezTo>
                    <a:cubicBezTo>
                      <a:pt x="15" y="57"/>
                      <a:pt x="13" y="28"/>
                      <a:pt x="15" y="6"/>
                    </a:cubicBezTo>
                    <a:cubicBezTo>
                      <a:pt x="20" y="3"/>
                      <a:pt x="29" y="6"/>
                      <a:pt x="29" y="0"/>
                    </a:cubicBezTo>
                    <a:close/>
                    <a:moveTo>
                      <a:pt x="28" y="81"/>
                    </a:moveTo>
                    <a:cubicBezTo>
                      <a:pt x="41" y="81"/>
                      <a:pt x="43" y="67"/>
                      <a:pt x="41" y="53"/>
                    </a:cubicBezTo>
                    <a:cubicBezTo>
                      <a:pt x="37" y="54"/>
                      <a:pt x="37" y="51"/>
                      <a:pt x="33" y="51"/>
                    </a:cubicBezTo>
                    <a:cubicBezTo>
                      <a:pt x="30" y="61"/>
                      <a:pt x="32" y="75"/>
                      <a:pt x="28" y="8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49" name="Freeform 159">
                <a:extLst>
                  <a:ext uri="{FF2B5EF4-FFF2-40B4-BE49-F238E27FC236}">
                    <a16:creationId xmlns:a16="http://schemas.microsoft.com/office/drawing/2014/main" id="{E363005A-1B4A-4313-AA9B-1308DDF14D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9775" y="5519755"/>
                <a:ext cx="539752" cy="404813"/>
              </a:xfrm>
              <a:custGeom>
                <a:avLst/>
                <a:gdLst>
                  <a:gd name="T0" fmla="*/ 19 w 144"/>
                  <a:gd name="T1" fmla="*/ 0 h 108"/>
                  <a:gd name="T2" fmla="*/ 21 w 144"/>
                  <a:gd name="T3" fmla="*/ 0 h 108"/>
                  <a:gd name="T4" fmla="*/ 55 w 144"/>
                  <a:gd name="T5" fmla="*/ 19 h 108"/>
                  <a:gd name="T6" fmla="*/ 139 w 144"/>
                  <a:gd name="T7" fmla="*/ 47 h 108"/>
                  <a:gd name="T8" fmla="*/ 144 w 144"/>
                  <a:gd name="T9" fmla="*/ 62 h 108"/>
                  <a:gd name="T10" fmla="*/ 144 w 144"/>
                  <a:gd name="T11" fmla="*/ 66 h 108"/>
                  <a:gd name="T12" fmla="*/ 137 w 144"/>
                  <a:gd name="T13" fmla="*/ 88 h 108"/>
                  <a:gd name="T14" fmla="*/ 105 w 144"/>
                  <a:gd name="T15" fmla="*/ 91 h 108"/>
                  <a:gd name="T16" fmla="*/ 100 w 144"/>
                  <a:gd name="T17" fmla="*/ 103 h 108"/>
                  <a:gd name="T18" fmla="*/ 90 w 144"/>
                  <a:gd name="T19" fmla="*/ 108 h 108"/>
                  <a:gd name="T20" fmla="*/ 82 w 144"/>
                  <a:gd name="T21" fmla="*/ 108 h 108"/>
                  <a:gd name="T22" fmla="*/ 31 w 144"/>
                  <a:gd name="T23" fmla="*/ 100 h 108"/>
                  <a:gd name="T24" fmla="*/ 32 w 144"/>
                  <a:gd name="T25" fmla="*/ 73 h 108"/>
                  <a:gd name="T26" fmla="*/ 0 w 144"/>
                  <a:gd name="T27" fmla="*/ 65 h 108"/>
                  <a:gd name="T28" fmla="*/ 0 w 144"/>
                  <a:gd name="T29" fmla="*/ 51 h 108"/>
                  <a:gd name="T30" fmla="*/ 11 w 144"/>
                  <a:gd name="T31" fmla="*/ 12 h 108"/>
                  <a:gd name="T32" fmla="*/ 19 w 144"/>
                  <a:gd name="T33" fmla="*/ 0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4" h="108">
                    <a:moveTo>
                      <a:pt x="19" y="0"/>
                    </a:moveTo>
                    <a:cubicBezTo>
                      <a:pt x="19" y="0"/>
                      <a:pt x="20" y="0"/>
                      <a:pt x="21" y="0"/>
                    </a:cubicBezTo>
                    <a:cubicBezTo>
                      <a:pt x="33" y="7"/>
                      <a:pt x="45" y="13"/>
                      <a:pt x="55" y="19"/>
                    </a:cubicBezTo>
                    <a:cubicBezTo>
                      <a:pt x="92" y="2"/>
                      <a:pt x="120" y="31"/>
                      <a:pt x="139" y="47"/>
                    </a:cubicBezTo>
                    <a:cubicBezTo>
                      <a:pt x="141" y="52"/>
                      <a:pt x="141" y="58"/>
                      <a:pt x="144" y="62"/>
                    </a:cubicBezTo>
                    <a:cubicBezTo>
                      <a:pt x="144" y="63"/>
                      <a:pt x="144" y="65"/>
                      <a:pt x="144" y="66"/>
                    </a:cubicBezTo>
                    <a:cubicBezTo>
                      <a:pt x="142" y="75"/>
                      <a:pt x="141" y="83"/>
                      <a:pt x="137" y="88"/>
                    </a:cubicBezTo>
                    <a:cubicBezTo>
                      <a:pt x="124" y="87"/>
                      <a:pt x="117" y="91"/>
                      <a:pt x="105" y="91"/>
                    </a:cubicBezTo>
                    <a:cubicBezTo>
                      <a:pt x="99" y="91"/>
                      <a:pt x="104" y="101"/>
                      <a:pt x="100" y="103"/>
                    </a:cubicBezTo>
                    <a:cubicBezTo>
                      <a:pt x="96" y="105"/>
                      <a:pt x="91" y="106"/>
                      <a:pt x="90" y="108"/>
                    </a:cubicBezTo>
                    <a:cubicBezTo>
                      <a:pt x="87" y="108"/>
                      <a:pt x="84" y="108"/>
                      <a:pt x="82" y="108"/>
                    </a:cubicBezTo>
                    <a:cubicBezTo>
                      <a:pt x="66" y="105"/>
                      <a:pt x="41" y="108"/>
                      <a:pt x="31" y="100"/>
                    </a:cubicBezTo>
                    <a:cubicBezTo>
                      <a:pt x="27" y="90"/>
                      <a:pt x="33" y="85"/>
                      <a:pt x="32" y="73"/>
                    </a:cubicBezTo>
                    <a:cubicBezTo>
                      <a:pt x="23" y="75"/>
                      <a:pt x="8" y="71"/>
                      <a:pt x="0" y="65"/>
                    </a:cubicBezTo>
                    <a:cubicBezTo>
                      <a:pt x="0" y="61"/>
                      <a:pt x="0" y="56"/>
                      <a:pt x="0" y="51"/>
                    </a:cubicBezTo>
                    <a:cubicBezTo>
                      <a:pt x="6" y="39"/>
                      <a:pt x="14" y="27"/>
                      <a:pt x="11" y="12"/>
                    </a:cubicBezTo>
                    <a:cubicBezTo>
                      <a:pt x="11" y="7"/>
                      <a:pt x="18" y="6"/>
                      <a:pt x="19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50" name="Freeform 160">
                <a:extLst>
                  <a:ext uri="{FF2B5EF4-FFF2-40B4-BE49-F238E27FC236}">
                    <a16:creationId xmlns:a16="http://schemas.microsoft.com/office/drawing/2014/main" id="{2514A42B-0ACD-4705-B21A-81122153F4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014673"/>
                <a:ext cx="1109668" cy="2805120"/>
              </a:xfrm>
              <a:custGeom>
                <a:avLst/>
                <a:gdLst>
                  <a:gd name="T0" fmla="*/ 0 w 296"/>
                  <a:gd name="T1" fmla="*/ 188 h 748"/>
                  <a:gd name="T2" fmla="*/ 0 w 296"/>
                  <a:gd name="T3" fmla="*/ 183 h 748"/>
                  <a:gd name="T4" fmla="*/ 12 w 296"/>
                  <a:gd name="T5" fmla="*/ 166 h 748"/>
                  <a:gd name="T6" fmla="*/ 103 w 296"/>
                  <a:gd name="T7" fmla="*/ 169 h 748"/>
                  <a:gd name="T8" fmla="*/ 143 w 296"/>
                  <a:gd name="T9" fmla="*/ 9 h 748"/>
                  <a:gd name="T10" fmla="*/ 191 w 296"/>
                  <a:gd name="T11" fmla="*/ 11 h 748"/>
                  <a:gd name="T12" fmla="*/ 225 w 296"/>
                  <a:gd name="T13" fmla="*/ 112 h 748"/>
                  <a:gd name="T14" fmla="*/ 245 w 296"/>
                  <a:gd name="T15" fmla="*/ 133 h 748"/>
                  <a:gd name="T16" fmla="*/ 268 w 296"/>
                  <a:gd name="T17" fmla="*/ 153 h 748"/>
                  <a:gd name="T18" fmla="*/ 296 w 296"/>
                  <a:gd name="T19" fmla="*/ 153 h 748"/>
                  <a:gd name="T20" fmla="*/ 275 w 296"/>
                  <a:gd name="T21" fmla="*/ 276 h 748"/>
                  <a:gd name="T22" fmla="*/ 268 w 296"/>
                  <a:gd name="T23" fmla="*/ 288 h 748"/>
                  <a:gd name="T24" fmla="*/ 264 w 296"/>
                  <a:gd name="T25" fmla="*/ 303 h 748"/>
                  <a:gd name="T26" fmla="*/ 253 w 296"/>
                  <a:gd name="T27" fmla="*/ 328 h 748"/>
                  <a:gd name="T28" fmla="*/ 256 w 296"/>
                  <a:gd name="T29" fmla="*/ 354 h 748"/>
                  <a:gd name="T30" fmla="*/ 252 w 296"/>
                  <a:gd name="T31" fmla="*/ 418 h 748"/>
                  <a:gd name="T32" fmla="*/ 249 w 296"/>
                  <a:gd name="T33" fmla="*/ 514 h 748"/>
                  <a:gd name="T34" fmla="*/ 237 w 296"/>
                  <a:gd name="T35" fmla="*/ 577 h 748"/>
                  <a:gd name="T36" fmla="*/ 223 w 296"/>
                  <a:gd name="T37" fmla="*/ 604 h 748"/>
                  <a:gd name="T38" fmla="*/ 215 w 296"/>
                  <a:gd name="T39" fmla="*/ 633 h 748"/>
                  <a:gd name="T40" fmla="*/ 207 w 296"/>
                  <a:gd name="T41" fmla="*/ 662 h 748"/>
                  <a:gd name="T42" fmla="*/ 222 w 296"/>
                  <a:gd name="T43" fmla="*/ 707 h 748"/>
                  <a:gd name="T44" fmla="*/ 182 w 296"/>
                  <a:gd name="T45" fmla="*/ 689 h 748"/>
                  <a:gd name="T46" fmla="*/ 122 w 296"/>
                  <a:gd name="T47" fmla="*/ 748 h 748"/>
                  <a:gd name="T48" fmla="*/ 114 w 296"/>
                  <a:gd name="T49" fmla="*/ 677 h 748"/>
                  <a:gd name="T50" fmla="*/ 97 w 296"/>
                  <a:gd name="T51" fmla="*/ 672 h 748"/>
                  <a:gd name="T52" fmla="*/ 97 w 296"/>
                  <a:gd name="T53" fmla="*/ 609 h 748"/>
                  <a:gd name="T54" fmla="*/ 86 w 296"/>
                  <a:gd name="T55" fmla="*/ 588 h 748"/>
                  <a:gd name="T56" fmla="*/ 64 w 296"/>
                  <a:gd name="T57" fmla="*/ 525 h 748"/>
                  <a:gd name="T58" fmla="*/ 35 w 296"/>
                  <a:gd name="T59" fmla="*/ 383 h 748"/>
                  <a:gd name="T60" fmla="*/ 19 w 296"/>
                  <a:gd name="T61" fmla="*/ 285 h 748"/>
                  <a:gd name="T62" fmla="*/ 0 w 296"/>
                  <a:gd name="T63" fmla="*/ 188 h 7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96" h="748">
                    <a:moveTo>
                      <a:pt x="0" y="188"/>
                    </a:moveTo>
                    <a:cubicBezTo>
                      <a:pt x="0" y="186"/>
                      <a:pt x="0" y="185"/>
                      <a:pt x="0" y="183"/>
                    </a:cubicBezTo>
                    <a:cubicBezTo>
                      <a:pt x="6" y="178"/>
                      <a:pt x="6" y="168"/>
                      <a:pt x="12" y="166"/>
                    </a:cubicBezTo>
                    <a:cubicBezTo>
                      <a:pt x="37" y="176"/>
                      <a:pt x="73" y="176"/>
                      <a:pt x="103" y="169"/>
                    </a:cubicBezTo>
                    <a:cubicBezTo>
                      <a:pt x="116" y="117"/>
                      <a:pt x="127" y="60"/>
                      <a:pt x="143" y="9"/>
                    </a:cubicBezTo>
                    <a:cubicBezTo>
                      <a:pt x="158" y="0"/>
                      <a:pt x="177" y="2"/>
                      <a:pt x="191" y="11"/>
                    </a:cubicBezTo>
                    <a:cubicBezTo>
                      <a:pt x="204" y="36"/>
                      <a:pt x="210" y="83"/>
                      <a:pt x="225" y="112"/>
                    </a:cubicBezTo>
                    <a:cubicBezTo>
                      <a:pt x="229" y="119"/>
                      <a:pt x="237" y="125"/>
                      <a:pt x="245" y="133"/>
                    </a:cubicBezTo>
                    <a:cubicBezTo>
                      <a:pt x="252" y="140"/>
                      <a:pt x="260" y="152"/>
                      <a:pt x="268" y="153"/>
                    </a:cubicBezTo>
                    <a:cubicBezTo>
                      <a:pt x="277" y="155"/>
                      <a:pt x="286" y="149"/>
                      <a:pt x="296" y="153"/>
                    </a:cubicBezTo>
                    <a:cubicBezTo>
                      <a:pt x="291" y="195"/>
                      <a:pt x="275" y="228"/>
                      <a:pt x="275" y="276"/>
                    </a:cubicBezTo>
                    <a:cubicBezTo>
                      <a:pt x="273" y="281"/>
                      <a:pt x="269" y="281"/>
                      <a:pt x="268" y="288"/>
                    </a:cubicBezTo>
                    <a:cubicBezTo>
                      <a:pt x="265" y="291"/>
                      <a:pt x="265" y="298"/>
                      <a:pt x="264" y="303"/>
                    </a:cubicBezTo>
                    <a:cubicBezTo>
                      <a:pt x="261" y="312"/>
                      <a:pt x="253" y="318"/>
                      <a:pt x="253" y="328"/>
                    </a:cubicBezTo>
                    <a:cubicBezTo>
                      <a:pt x="252" y="336"/>
                      <a:pt x="256" y="345"/>
                      <a:pt x="256" y="354"/>
                    </a:cubicBezTo>
                    <a:cubicBezTo>
                      <a:pt x="258" y="380"/>
                      <a:pt x="258" y="399"/>
                      <a:pt x="252" y="418"/>
                    </a:cubicBezTo>
                    <a:cubicBezTo>
                      <a:pt x="266" y="448"/>
                      <a:pt x="257" y="479"/>
                      <a:pt x="249" y="514"/>
                    </a:cubicBezTo>
                    <a:cubicBezTo>
                      <a:pt x="245" y="536"/>
                      <a:pt x="243" y="559"/>
                      <a:pt x="237" y="577"/>
                    </a:cubicBezTo>
                    <a:cubicBezTo>
                      <a:pt x="233" y="586"/>
                      <a:pt x="227" y="595"/>
                      <a:pt x="223" y="604"/>
                    </a:cubicBezTo>
                    <a:cubicBezTo>
                      <a:pt x="220" y="611"/>
                      <a:pt x="218" y="623"/>
                      <a:pt x="215" y="633"/>
                    </a:cubicBezTo>
                    <a:cubicBezTo>
                      <a:pt x="212" y="644"/>
                      <a:pt x="207" y="656"/>
                      <a:pt x="207" y="662"/>
                    </a:cubicBezTo>
                    <a:cubicBezTo>
                      <a:pt x="208" y="675"/>
                      <a:pt x="224" y="690"/>
                      <a:pt x="222" y="707"/>
                    </a:cubicBezTo>
                    <a:cubicBezTo>
                      <a:pt x="203" y="705"/>
                      <a:pt x="197" y="690"/>
                      <a:pt x="182" y="689"/>
                    </a:cubicBezTo>
                    <a:cubicBezTo>
                      <a:pt x="141" y="688"/>
                      <a:pt x="137" y="726"/>
                      <a:pt x="122" y="748"/>
                    </a:cubicBezTo>
                    <a:cubicBezTo>
                      <a:pt x="120" y="724"/>
                      <a:pt x="115" y="702"/>
                      <a:pt x="114" y="677"/>
                    </a:cubicBezTo>
                    <a:cubicBezTo>
                      <a:pt x="108" y="676"/>
                      <a:pt x="99" y="684"/>
                      <a:pt x="97" y="672"/>
                    </a:cubicBezTo>
                    <a:cubicBezTo>
                      <a:pt x="64" y="661"/>
                      <a:pt x="98" y="627"/>
                      <a:pt x="97" y="609"/>
                    </a:cubicBezTo>
                    <a:cubicBezTo>
                      <a:pt x="97" y="602"/>
                      <a:pt x="90" y="595"/>
                      <a:pt x="86" y="588"/>
                    </a:cubicBezTo>
                    <a:cubicBezTo>
                      <a:pt x="74" y="569"/>
                      <a:pt x="70" y="549"/>
                      <a:pt x="64" y="525"/>
                    </a:cubicBezTo>
                    <a:cubicBezTo>
                      <a:pt x="52" y="479"/>
                      <a:pt x="45" y="432"/>
                      <a:pt x="35" y="383"/>
                    </a:cubicBezTo>
                    <a:cubicBezTo>
                      <a:pt x="28" y="351"/>
                      <a:pt x="22" y="318"/>
                      <a:pt x="19" y="285"/>
                    </a:cubicBezTo>
                    <a:cubicBezTo>
                      <a:pt x="18" y="251"/>
                      <a:pt x="7" y="214"/>
                      <a:pt x="0" y="188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51" name="Freeform 179">
                <a:extLst>
                  <a:ext uri="{FF2B5EF4-FFF2-40B4-BE49-F238E27FC236}">
                    <a16:creationId xmlns:a16="http://schemas.microsoft.com/office/drawing/2014/main" id="{C644BCA0-5421-4F4A-A5E7-3FB124F0DE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4413" y="3113098"/>
                <a:ext cx="452441" cy="569916"/>
              </a:xfrm>
              <a:custGeom>
                <a:avLst/>
                <a:gdLst>
                  <a:gd name="T0" fmla="*/ 0 w 285"/>
                  <a:gd name="T1" fmla="*/ 0 h 359"/>
                  <a:gd name="T2" fmla="*/ 14 w 285"/>
                  <a:gd name="T3" fmla="*/ 96 h 359"/>
                  <a:gd name="T4" fmla="*/ 108 w 285"/>
                  <a:gd name="T5" fmla="*/ 330 h 359"/>
                  <a:gd name="T6" fmla="*/ 285 w 285"/>
                  <a:gd name="T7" fmla="*/ 359 h 359"/>
                  <a:gd name="T8" fmla="*/ 285 w 285"/>
                  <a:gd name="T9" fmla="*/ 311 h 359"/>
                  <a:gd name="T10" fmla="*/ 0 w 285"/>
                  <a:gd name="T11" fmla="*/ 0 h 3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5" h="359">
                    <a:moveTo>
                      <a:pt x="0" y="0"/>
                    </a:moveTo>
                    <a:lnTo>
                      <a:pt x="14" y="96"/>
                    </a:lnTo>
                    <a:lnTo>
                      <a:pt x="108" y="330"/>
                    </a:lnTo>
                    <a:lnTo>
                      <a:pt x="285" y="359"/>
                    </a:lnTo>
                    <a:lnTo>
                      <a:pt x="285" y="31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52" name="Freeform 180">
                <a:extLst>
                  <a:ext uri="{FF2B5EF4-FFF2-40B4-BE49-F238E27FC236}">
                    <a16:creationId xmlns:a16="http://schemas.microsoft.com/office/drawing/2014/main" id="{91F386FF-FFC6-4948-A7A8-B111C3E9BA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146435"/>
                <a:ext cx="592139" cy="619126"/>
              </a:xfrm>
              <a:custGeom>
                <a:avLst/>
                <a:gdLst>
                  <a:gd name="T0" fmla="*/ 158 w 158"/>
                  <a:gd name="T1" fmla="*/ 0 h 165"/>
                  <a:gd name="T2" fmla="*/ 158 w 158"/>
                  <a:gd name="T3" fmla="*/ 80 h 165"/>
                  <a:gd name="T4" fmla="*/ 113 w 158"/>
                  <a:gd name="T5" fmla="*/ 158 h 165"/>
                  <a:gd name="T6" fmla="*/ 23 w 158"/>
                  <a:gd name="T7" fmla="*/ 156 h 165"/>
                  <a:gd name="T8" fmla="*/ 0 w 158"/>
                  <a:gd name="T9" fmla="*/ 148 h 165"/>
                  <a:gd name="T10" fmla="*/ 87 w 158"/>
                  <a:gd name="T11" fmla="*/ 137 h 165"/>
                  <a:gd name="T12" fmla="*/ 158 w 158"/>
                  <a:gd name="T13" fmla="*/ 0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8" h="165">
                    <a:moveTo>
                      <a:pt x="158" y="0"/>
                    </a:moveTo>
                    <a:cubicBezTo>
                      <a:pt x="158" y="80"/>
                      <a:pt x="158" y="80"/>
                      <a:pt x="158" y="80"/>
                    </a:cubicBezTo>
                    <a:cubicBezTo>
                      <a:pt x="158" y="80"/>
                      <a:pt x="139" y="165"/>
                      <a:pt x="113" y="158"/>
                    </a:cubicBezTo>
                    <a:cubicBezTo>
                      <a:pt x="87" y="152"/>
                      <a:pt x="26" y="157"/>
                      <a:pt x="23" y="156"/>
                    </a:cubicBezTo>
                    <a:cubicBezTo>
                      <a:pt x="20" y="156"/>
                      <a:pt x="0" y="148"/>
                      <a:pt x="0" y="148"/>
                    </a:cubicBezTo>
                    <a:cubicBezTo>
                      <a:pt x="0" y="148"/>
                      <a:pt x="82" y="138"/>
                      <a:pt x="87" y="137"/>
                    </a:cubicBezTo>
                    <a:cubicBezTo>
                      <a:pt x="92" y="136"/>
                      <a:pt x="158" y="0"/>
                      <a:pt x="1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53" name="Freeform 181">
                <a:extLst>
                  <a:ext uri="{FF2B5EF4-FFF2-40B4-BE49-F238E27FC236}">
                    <a16:creationId xmlns:a16="http://schemas.microsoft.com/office/drawing/2014/main" id="{7FE3FB56-5BF1-4455-A0FD-5A5C43AF54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9813" y="3446473"/>
                <a:ext cx="63501" cy="423863"/>
              </a:xfrm>
              <a:custGeom>
                <a:avLst/>
                <a:gdLst>
                  <a:gd name="T0" fmla="*/ 0 w 40"/>
                  <a:gd name="T1" fmla="*/ 0 h 267"/>
                  <a:gd name="T2" fmla="*/ 0 w 40"/>
                  <a:gd name="T3" fmla="*/ 267 h 267"/>
                  <a:gd name="T4" fmla="*/ 40 w 40"/>
                  <a:gd name="T5" fmla="*/ 260 h 267"/>
                  <a:gd name="T6" fmla="*/ 0 w 40"/>
                  <a:gd name="T7" fmla="*/ 0 h 2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0" h="267">
                    <a:moveTo>
                      <a:pt x="0" y="0"/>
                    </a:moveTo>
                    <a:lnTo>
                      <a:pt x="0" y="267"/>
                    </a:lnTo>
                    <a:lnTo>
                      <a:pt x="40" y="26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54" name="Freeform 182">
                <a:extLst>
                  <a:ext uri="{FF2B5EF4-FFF2-40B4-BE49-F238E27FC236}">
                    <a16:creationId xmlns:a16="http://schemas.microsoft.com/office/drawing/2014/main" id="{DC84F6AD-09EA-4CCC-BCCE-5FD410A7B5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48036" y="3884623"/>
                <a:ext cx="217490" cy="1497016"/>
              </a:xfrm>
              <a:custGeom>
                <a:avLst/>
                <a:gdLst>
                  <a:gd name="T0" fmla="*/ 58 w 58"/>
                  <a:gd name="T1" fmla="*/ 0 h 399"/>
                  <a:gd name="T2" fmla="*/ 6 w 58"/>
                  <a:gd name="T3" fmla="*/ 369 h 399"/>
                  <a:gd name="T4" fmla="*/ 0 w 58"/>
                  <a:gd name="T5" fmla="*/ 399 h 399"/>
                  <a:gd name="T6" fmla="*/ 34 w 58"/>
                  <a:gd name="T7" fmla="*/ 312 h 399"/>
                  <a:gd name="T8" fmla="*/ 29 w 58"/>
                  <a:gd name="T9" fmla="*/ 255 h 399"/>
                  <a:gd name="T10" fmla="*/ 48 w 58"/>
                  <a:gd name="T11" fmla="*/ 139 h 399"/>
                  <a:gd name="T12" fmla="*/ 58 w 58"/>
                  <a:gd name="T13" fmla="*/ 0 h 3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8" h="399">
                    <a:moveTo>
                      <a:pt x="58" y="0"/>
                    </a:moveTo>
                    <a:cubicBezTo>
                      <a:pt x="6" y="369"/>
                      <a:pt x="6" y="369"/>
                      <a:pt x="6" y="369"/>
                    </a:cubicBezTo>
                    <a:cubicBezTo>
                      <a:pt x="0" y="399"/>
                      <a:pt x="0" y="399"/>
                      <a:pt x="0" y="399"/>
                    </a:cubicBezTo>
                    <a:cubicBezTo>
                      <a:pt x="0" y="399"/>
                      <a:pt x="36" y="342"/>
                      <a:pt x="34" y="312"/>
                    </a:cubicBezTo>
                    <a:cubicBezTo>
                      <a:pt x="32" y="282"/>
                      <a:pt x="28" y="282"/>
                      <a:pt x="29" y="255"/>
                    </a:cubicBezTo>
                    <a:cubicBezTo>
                      <a:pt x="31" y="227"/>
                      <a:pt x="46" y="145"/>
                      <a:pt x="48" y="139"/>
                    </a:cubicBezTo>
                    <a:cubicBezTo>
                      <a:pt x="50" y="132"/>
                      <a:pt x="58" y="0"/>
                      <a:pt x="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55" name="Freeform 183">
                <a:extLst>
                  <a:ext uri="{FF2B5EF4-FFF2-40B4-BE49-F238E27FC236}">
                    <a16:creationId xmlns:a16="http://schemas.microsoft.com/office/drawing/2014/main" id="{3B271E7B-13AC-4EC6-8A34-F98EEE5A66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3802" y="4038612"/>
                <a:ext cx="231777" cy="385763"/>
              </a:xfrm>
              <a:custGeom>
                <a:avLst/>
                <a:gdLst>
                  <a:gd name="T0" fmla="*/ 62 w 62"/>
                  <a:gd name="T1" fmla="*/ 0 h 103"/>
                  <a:gd name="T2" fmla="*/ 35 w 62"/>
                  <a:gd name="T3" fmla="*/ 31 h 103"/>
                  <a:gd name="T4" fmla="*/ 27 w 62"/>
                  <a:gd name="T5" fmla="*/ 66 h 103"/>
                  <a:gd name="T6" fmla="*/ 6 w 62"/>
                  <a:gd name="T7" fmla="*/ 79 h 103"/>
                  <a:gd name="T8" fmla="*/ 23 w 62"/>
                  <a:gd name="T9" fmla="*/ 30 h 103"/>
                  <a:gd name="T10" fmla="*/ 62 w 62"/>
                  <a:gd name="T11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2" h="103">
                    <a:moveTo>
                      <a:pt x="62" y="0"/>
                    </a:moveTo>
                    <a:cubicBezTo>
                      <a:pt x="62" y="0"/>
                      <a:pt x="37" y="20"/>
                      <a:pt x="35" y="31"/>
                    </a:cubicBezTo>
                    <a:cubicBezTo>
                      <a:pt x="33" y="42"/>
                      <a:pt x="25" y="75"/>
                      <a:pt x="27" y="66"/>
                    </a:cubicBezTo>
                    <a:cubicBezTo>
                      <a:pt x="28" y="58"/>
                      <a:pt x="0" y="103"/>
                      <a:pt x="6" y="79"/>
                    </a:cubicBezTo>
                    <a:cubicBezTo>
                      <a:pt x="12" y="55"/>
                      <a:pt x="14" y="48"/>
                      <a:pt x="23" y="30"/>
                    </a:cubicBezTo>
                    <a:cubicBezTo>
                      <a:pt x="33" y="12"/>
                      <a:pt x="62" y="0"/>
                      <a:pt x="62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56" name="Freeform 184">
                <a:extLst>
                  <a:ext uri="{FF2B5EF4-FFF2-40B4-BE49-F238E27FC236}">
                    <a16:creationId xmlns:a16="http://schemas.microsoft.com/office/drawing/2014/main" id="{3C7682A3-9765-4D39-A594-C6CB87EDA8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5862" y="4581537"/>
                <a:ext cx="153989" cy="434977"/>
              </a:xfrm>
              <a:custGeom>
                <a:avLst/>
                <a:gdLst>
                  <a:gd name="T0" fmla="*/ 41 w 41"/>
                  <a:gd name="T1" fmla="*/ 0 h 116"/>
                  <a:gd name="T2" fmla="*/ 25 w 41"/>
                  <a:gd name="T3" fmla="*/ 47 h 116"/>
                  <a:gd name="T4" fmla="*/ 7 w 41"/>
                  <a:gd name="T5" fmla="*/ 85 h 116"/>
                  <a:gd name="T6" fmla="*/ 36 w 41"/>
                  <a:gd name="T7" fmla="*/ 0 h 116"/>
                  <a:gd name="T8" fmla="*/ 41 w 41"/>
                  <a:gd name="T9" fmla="*/ 0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116">
                    <a:moveTo>
                      <a:pt x="41" y="0"/>
                    </a:moveTo>
                    <a:cubicBezTo>
                      <a:pt x="38" y="8"/>
                      <a:pt x="33" y="18"/>
                      <a:pt x="25" y="47"/>
                    </a:cubicBezTo>
                    <a:cubicBezTo>
                      <a:pt x="17" y="75"/>
                      <a:pt x="0" y="116"/>
                      <a:pt x="7" y="85"/>
                    </a:cubicBezTo>
                    <a:cubicBezTo>
                      <a:pt x="15" y="53"/>
                      <a:pt x="31" y="0"/>
                      <a:pt x="36" y="0"/>
                    </a:cubicBezTo>
                    <a:cubicBezTo>
                      <a:pt x="41" y="0"/>
                      <a:pt x="41" y="0"/>
                      <a:pt x="41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57" name="Freeform 185">
                <a:extLst>
                  <a:ext uri="{FF2B5EF4-FFF2-40B4-BE49-F238E27FC236}">
                    <a16:creationId xmlns:a16="http://schemas.microsoft.com/office/drawing/2014/main" id="{BFAE8E54-78B0-4065-90AF-941471D398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5988" y="5470541"/>
                <a:ext cx="274638" cy="165099"/>
              </a:xfrm>
              <a:custGeom>
                <a:avLst/>
                <a:gdLst>
                  <a:gd name="T0" fmla="*/ 0 w 73"/>
                  <a:gd name="T1" fmla="*/ 41 h 44"/>
                  <a:gd name="T2" fmla="*/ 37 w 73"/>
                  <a:gd name="T3" fmla="*/ 29 h 44"/>
                  <a:gd name="T4" fmla="*/ 68 w 73"/>
                  <a:gd name="T5" fmla="*/ 29 h 44"/>
                  <a:gd name="T6" fmla="*/ 50 w 73"/>
                  <a:gd name="T7" fmla="*/ 0 h 44"/>
                  <a:gd name="T8" fmla="*/ 0 w 73"/>
                  <a:gd name="T9" fmla="*/ 41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3" h="44">
                    <a:moveTo>
                      <a:pt x="0" y="41"/>
                    </a:moveTo>
                    <a:cubicBezTo>
                      <a:pt x="0" y="41"/>
                      <a:pt x="8" y="27"/>
                      <a:pt x="37" y="29"/>
                    </a:cubicBezTo>
                    <a:cubicBezTo>
                      <a:pt x="65" y="31"/>
                      <a:pt x="66" y="44"/>
                      <a:pt x="68" y="29"/>
                    </a:cubicBezTo>
                    <a:cubicBezTo>
                      <a:pt x="70" y="14"/>
                      <a:pt x="73" y="0"/>
                      <a:pt x="50" y="0"/>
                    </a:cubicBezTo>
                    <a:cubicBezTo>
                      <a:pt x="27" y="0"/>
                      <a:pt x="0" y="41"/>
                      <a:pt x="0" y="4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58" name="Freeform 186">
                <a:extLst>
                  <a:ext uri="{FF2B5EF4-FFF2-40B4-BE49-F238E27FC236}">
                    <a16:creationId xmlns:a16="http://schemas.microsoft.com/office/drawing/2014/main" id="{D36A7C73-9B6C-496F-8035-DAA5CFFA4A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5111766"/>
                <a:ext cx="139699" cy="265114"/>
              </a:xfrm>
              <a:custGeom>
                <a:avLst/>
                <a:gdLst>
                  <a:gd name="T0" fmla="*/ 16 w 37"/>
                  <a:gd name="T1" fmla="*/ 2 h 71"/>
                  <a:gd name="T2" fmla="*/ 31 w 37"/>
                  <a:gd name="T3" fmla="*/ 31 h 71"/>
                  <a:gd name="T4" fmla="*/ 24 w 37"/>
                  <a:gd name="T5" fmla="*/ 42 h 71"/>
                  <a:gd name="T6" fmla="*/ 3 w 37"/>
                  <a:gd name="T7" fmla="*/ 7 h 71"/>
                  <a:gd name="T8" fmla="*/ 16 w 37"/>
                  <a:gd name="T9" fmla="*/ 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71">
                    <a:moveTo>
                      <a:pt x="16" y="2"/>
                    </a:moveTo>
                    <a:cubicBezTo>
                      <a:pt x="24" y="6"/>
                      <a:pt x="32" y="19"/>
                      <a:pt x="31" y="31"/>
                    </a:cubicBezTo>
                    <a:cubicBezTo>
                      <a:pt x="30" y="43"/>
                      <a:pt x="37" y="71"/>
                      <a:pt x="24" y="42"/>
                    </a:cubicBezTo>
                    <a:cubicBezTo>
                      <a:pt x="11" y="14"/>
                      <a:pt x="0" y="14"/>
                      <a:pt x="3" y="7"/>
                    </a:cubicBezTo>
                    <a:cubicBezTo>
                      <a:pt x="6" y="0"/>
                      <a:pt x="16" y="2"/>
                      <a:pt x="16" y="2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59" name="Freeform 187">
                <a:extLst>
                  <a:ext uri="{FF2B5EF4-FFF2-40B4-BE49-F238E27FC236}">
                    <a16:creationId xmlns:a16="http://schemas.microsoft.com/office/drawing/2014/main" id="{5CBCF681-CD08-48AD-A5E6-DD2D5D35DA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4" y="4159261"/>
                <a:ext cx="322265" cy="741365"/>
              </a:xfrm>
              <a:custGeom>
                <a:avLst/>
                <a:gdLst>
                  <a:gd name="T0" fmla="*/ 0 w 86"/>
                  <a:gd name="T1" fmla="*/ 0 h 198"/>
                  <a:gd name="T2" fmla="*/ 38 w 86"/>
                  <a:gd name="T3" fmla="*/ 16 h 198"/>
                  <a:gd name="T4" fmla="*/ 51 w 86"/>
                  <a:gd name="T5" fmla="*/ 54 h 198"/>
                  <a:gd name="T6" fmla="*/ 36 w 86"/>
                  <a:gd name="T7" fmla="*/ 54 h 198"/>
                  <a:gd name="T8" fmla="*/ 70 w 86"/>
                  <a:gd name="T9" fmla="*/ 161 h 198"/>
                  <a:gd name="T10" fmla="*/ 37 w 86"/>
                  <a:gd name="T11" fmla="*/ 132 h 198"/>
                  <a:gd name="T12" fmla="*/ 36 w 86"/>
                  <a:gd name="T13" fmla="*/ 198 h 198"/>
                  <a:gd name="T14" fmla="*/ 16 w 86"/>
                  <a:gd name="T15" fmla="*/ 96 h 198"/>
                  <a:gd name="T16" fmla="*/ 0 w 86"/>
                  <a:gd name="T17" fmla="*/ 28 h 198"/>
                  <a:gd name="T18" fmla="*/ 0 w 86"/>
                  <a:gd name="T19" fmla="*/ 0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6" h="198">
                    <a:moveTo>
                      <a:pt x="0" y="0"/>
                    </a:moveTo>
                    <a:cubicBezTo>
                      <a:pt x="0" y="0"/>
                      <a:pt x="32" y="2"/>
                      <a:pt x="38" y="16"/>
                    </a:cubicBezTo>
                    <a:cubicBezTo>
                      <a:pt x="44" y="31"/>
                      <a:pt x="66" y="67"/>
                      <a:pt x="51" y="54"/>
                    </a:cubicBezTo>
                    <a:cubicBezTo>
                      <a:pt x="36" y="41"/>
                      <a:pt x="17" y="24"/>
                      <a:pt x="36" y="54"/>
                    </a:cubicBezTo>
                    <a:cubicBezTo>
                      <a:pt x="54" y="84"/>
                      <a:pt x="86" y="181"/>
                      <a:pt x="70" y="161"/>
                    </a:cubicBezTo>
                    <a:cubicBezTo>
                      <a:pt x="55" y="141"/>
                      <a:pt x="39" y="108"/>
                      <a:pt x="37" y="132"/>
                    </a:cubicBezTo>
                    <a:cubicBezTo>
                      <a:pt x="36" y="156"/>
                      <a:pt x="36" y="198"/>
                      <a:pt x="36" y="198"/>
                    </a:cubicBezTo>
                    <a:cubicBezTo>
                      <a:pt x="16" y="96"/>
                      <a:pt x="16" y="96"/>
                      <a:pt x="16" y="96"/>
                    </a:cubicBezTo>
                    <a:cubicBezTo>
                      <a:pt x="0" y="28"/>
                      <a:pt x="0" y="28"/>
                      <a:pt x="0" y="28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60" name="Freeform 157">
                <a:extLst>
                  <a:ext uri="{FF2B5EF4-FFF2-40B4-BE49-F238E27FC236}">
                    <a16:creationId xmlns:a16="http://schemas.microsoft.com/office/drawing/2014/main" id="{3C31B363-4F31-4C3B-9066-6B3824D3F5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5160" y="960441"/>
                <a:ext cx="584203" cy="1049339"/>
              </a:xfrm>
              <a:custGeom>
                <a:avLst/>
                <a:gdLst>
                  <a:gd name="T0" fmla="*/ 0 w 156"/>
                  <a:gd name="T1" fmla="*/ 112 h 280"/>
                  <a:gd name="T2" fmla="*/ 0 w 156"/>
                  <a:gd name="T3" fmla="*/ 104 h 280"/>
                  <a:gd name="T4" fmla="*/ 11 w 156"/>
                  <a:gd name="T5" fmla="*/ 96 h 280"/>
                  <a:gd name="T6" fmla="*/ 4 w 156"/>
                  <a:gd name="T7" fmla="*/ 46 h 280"/>
                  <a:gd name="T8" fmla="*/ 28 w 156"/>
                  <a:gd name="T9" fmla="*/ 22 h 280"/>
                  <a:gd name="T10" fmla="*/ 59 w 156"/>
                  <a:gd name="T11" fmla="*/ 4 h 280"/>
                  <a:gd name="T12" fmla="*/ 108 w 156"/>
                  <a:gd name="T13" fmla="*/ 6 h 280"/>
                  <a:gd name="T14" fmla="*/ 138 w 156"/>
                  <a:gd name="T15" fmla="*/ 93 h 280"/>
                  <a:gd name="T16" fmla="*/ 143 w 156"/>
                  <a:gd name="T17" fmla="*/ 99 h 280"/>
                  <a:gd name="T18" fmla="*/ 131 w 156"/>
                  <a:gd name="T19" fmla="*/ 140 h 280"/>
                  <a:gd name="T20" fmla="*/ 122 w 156"/>
                  <a:gd name="T21" fmla="*/ 147 h 280"/>
                  <a:gd name="T22" fmla="*/ 114 w 156"/>
                  <a:gd name="T23" fmla="*/ 215 h 280"/>
                  <a:gd name="T24" fmla="*/ 80 w 156"/>
                  <a:gd name="T25" fmla="*/ 280 h 280"/>
                  <a:gd name="T26" fmla="*/ 56 w 156"/>
                  <a:gd name="T27" fmla="*/ 267 h 280"/>
                  <a:gd name="T28" fmla="*/ 44 w 156"/>
                  <a:gd name="T29" fmla="*/ 241 h 280"/>
                  <a:gd name="T30" fmla="*/ 24 w 156"/>
                  <a:gd name="T31" fmla="*/ 188 h 280"/>
                  <a:gd name="T32" fmla="*/ 24 w 156"/>
                  <a:gd name="T33" fmla="*/ 150 h 280"/>
                  <a:gd name="T34" fmla="*/ 12 w 156"/>
                  <a:gd name="T35" fmla="*/ 137 h 280"/>
                  <a:gd name="T36" fmla="*/ 0 w 156"/>
                  <a:gd name="T37" fmla="*/ 112 h 2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56" h="280">
                    <a:moveTo>
                      <a:pt x="0" y="112"/>
                    </a:moveTo>
                    <a:cubicBezTo>
                      <a:pt x="0" y="109"/>
                      <a:pt x="0" y="107"/>
                      <a:pt x="0" y="104"/>
                    </a:cubicBezTo>
                    <a:cubicBezTo>
                      <a:pt x="3" y="101"/>
                      <a:pt x="3" y="94"/>
                      <a:pt x="11" y="96"/>
                    </a:cubicBezTo>
                    <a:cubicBezTo>
                      <a:pt x="6" y="80"/>
                      <a:pt x="6" y="64"/>
                      <a:pt x="4" y="46"/>
                    </a:cubicBezTo>
                    <a:cubicBezTo>
                      <a:pt x="8" y="36"/>
                      <a:pt x="19" y="30"/>
                      <a:pt x="28" y="22"/>
                    </a:cubicBezTo>
                    <a:cubicBezTo>
                      <a:pt x="38" y="16"/>
                      <a:pt x="47" y="7"/>
                      <a:pt x="59" y="4"/>
                    </a:cubicBezTo>
                    <a:cubicBezTo>
                      <a:pt x="72" y="0"/>
                      <a:pt x="89" y="6"/>
                      <a:pt x="108" y="6"/>
                    </a:cubicBezTo>
                    <a:cubicBezTo>
                      <a:pt x="134" y="19"/>
                      <a:pt x="156" y="55"/>
                      <a:pt x="138" y="93"/>
                    </a:cubicBezTo>
                    <a:cubicBezTo>
                      <a:pt x="137" y="97"/>
                      <a:pt x="145" y="96"/>
                      <a:pt x="143" y="99"/>
                    </a:cubicBezTo>
                    <a:cubicBezTo>
                      <a:pt x="149" y="115"/>
                      <a:pt x="135" y="128"/>
                      <a:pt x="131" y="140"/>
                    </a:cubicBezTo>
                    <a:cubicBezTo>
                      <a:pt x="130" y="142"/>
                      <a:pt x="126" y="146"/>
                      <a:pt x="122" y="147"/>
                    </a:cubicBezTo>
                    <a:cubicBezTo>
                      <a:pt x="122" y="170"/>
                      <a:pt x="121" y="196"/>
                      <a:pt x="114" y="215"/>
                    </a:cubicBezTo>
                    <a:cubicBezTo>
                      <a:pt x="108" y="240"/>
                      <a:pt x="102" y="273"/>
                      <a:pt x="80" y="280"/>
                    </a:cubicBezTo>
                    <a:cubicBezTo>
                      <a:pt x="72" y="274"/>
                      <a:pt x="61" y="274"/>
                      <a:pt x="56" y="267"/>
                    </a:cubicBezTo>
                    <a:cubicBezTo>
                      <a:pt x="51" y="260"/>
                      <a:pt x="48" y="249"/>
                      <a:pt x="44" y="241"/>
                    </a:cubicBezTo>
                    <a:cubicBezTo>
                      <a:pt x="38" y="226"/>
                      <a:pt x="27" y="204"/>
                      <a:pt x="24" y="188"/>
                    </a:cubicBezTo>
                    <a:cubicBezTo>
                      <a:pt x="22" y="175"/>
                      <a:pt x="27" y="161"/>
                      <a:pt x="24" y="150"/>
                    </a:cubicBezTo>
                    <a:cubicBezTo>
                      <a:pt x="22" y="140"/>
                      <a:pt x="18" y="144"/>
                      <a:pt x="12" y="137"/>
                    </a:cubicBezTo>
                    <a:cubicBezTo>
                      <a:pt x="7" y="130"/>
                      <a:pt x="4" y="118"/>
                      <a:pt x="0" y="112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61" name="Freeform 158">
                <a:extLst>
                  <a:ext uri="{FF2B5EF4-FFF2-40B4-BE49-F238E27FC236}">
                    <a16:creationId xmlns:a16="http://schemas.microsoft.com/office/drawing/2014/main" id="{035A9B4D-F13A-450F-8BD5-69104BC30B2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49535" y="3479810"/>
                <a:ext cx="255587" cy="434977"/>
              </a:xfrm>
              <a:custGeom>
                <a:avLst/>
                <a:gdLst>
                  <a:gd name="T0" fmla="*/ 63 w 68"/>
                  <a:gd name="T1" fmla="*/ 116 h 116"/>
                  <a:gd name="T2" fmla="*/ 60 w 68"/>
                  <a:gd name="T3" fmla="*/ 116 h 116"/>
                  <a:gd name="T4" fmla="*/ 16 w 68"/>
                  <a:gd name="T5" fmla="*/ 98 h 116"/>
                  <a:gd name="T6" fmla="*/ 0 w 68"/>
                  <a:gd name="T7" fmla="*/ 23 h 116"/>
                  <a:gd name="T8" fmla="*/ 55 w 68"/>
                  <a:gd name="T9" fmla="*/ 16 h 116"/>
                  <a:gd name="T10" fmla="*/ 68 w 68"/>
                  <a:gd name="T11" fmla="*/ 91 h 116"/>
                  <a:gd name="T12" fmla="*/ 62 w 68"/>
                  <a:gd name="T13" fmla="*/ 103 h 116"/>
                  <a:gd name="T14" fmla="*/ 63 w 68"/>
                  <a:gd name="T15" fmla="*/ 116 h 116"/>
                  <a:gd name="T16" fmla="*/ 38 w 68"/>
                  <a:gd name="T17" fmla="*/ 65 h 116"/>
                  <a:gd name="T18" fmla="*/ 54 w 68"/>
                  <a:gd name="T19" fmla="*/ 91 h 116"/>
                  <a:gd name="T20" fmla="*/ 44 w 68"/>
                  <a:gd name="T21" fmla="*/ 60 h 116"/>
                  <a:gd name="T22" fmla="*/ 38 w 68"/>
                  <a:gd name="T23" fmla="*/ 65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8" h="116">
                    <a:moveTo>
                      <a:pt x="63" y="116"/>
                    </a:moveTo>
                    <a:cubicBezTo>
                      <a:pt x="62" y="116"/>
                      <a:pt x="60" y="116"/>
                      <a:pt x="60" y="116"/>
                    </a:cubicBezTo>
                    <a:cubicBezTo>
                      <a:pt x="46" y="108"/>
                      <a:pt x="26" y="108"/>
                      <a:pt x="16" y="98"/>
                    </a:cubicBezTo>
                    <a:cubicBezTo>
                      <a:pt x="0" y="81"/>
                      <a:pt x="0" y="56"/>
                      <a:pt x="0" y="23"/>
                    </a:cubicBezTo>
                    <a:cubicBezTo>
                      <a:pt x="12" y="8"/>
                      <a:pt x="40" y="0"/>
                      <a:pt x="55" y="16"/>
                    </a:cubicBezTo>
                    <a:cubicBezTo>
                      <a:pt x="60" y="40"/>
                      <a:pt x="62" y="69"/>
                      <a:pt x="68" y="91"/>
                    </a:cubicBezTo>
                    <a:cubicBezTo>
                      <a:pt x="68" y="98"/>
                      <a:pt x="59" y="95"/>
                      <a:pt x="62" y="103"/>
                    </a:cubicBezTo>
                    <a:cubicBezTo>
                      <a:pt x="66" y="106"/>
                      <a:pt x="67" y="110"/>
                      <a:pt x="63" y="116"/>
                    </a:cubicBezTo>
                    <a:close/>
                    <a:moveTo>
                      <a:pt x="38" y="65"/>
                    </a:moveTo>
                    <a:cubicBezTo>
                      <a:pt x="40" y="75"/>
                      <a:pt x="38" y="93"/>
                      <a:pt x="54" y="91"/>
                    </a:cubicBezTo>
                    <a:cubicBezTo>
                      <a:pt x="47" y="85"/>
                      <a:pt x="50" y="69"/>
                      <a:pt x="44" y="60"/>
                    </a:cubicBezTo>
                    <a:cubicBezTo>
                      <a:pt x="43" y="64"/>
                      <a:pt x="38" y="61"/>
                      <a:pt x="38" y="6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62" name="Freeform 161">
                <a:extLst>
                  <a:ext uri="{FF2B5EF4-FFF2-40B4-BE49-F238E27FC236}">
                    <a16:creationId xmlns:a16="http://schemas.microsoft.com/office/drawing/2014/main" id="{C911EA49-EDF2-41D5-98B3-A63867A087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1695456"/>
                <a:ext cx="525465" cy="1109667"/>
              </a:xfrm>
              <a:custGeom>
                <a:avLst/>
                <a:gdLst>
                  <a:gd name="T0" fmla="*/ 139 w 140"/>
                  <a:gd name="T1" fmla="*/ 64 h 296"/>
                  <a:gd name="T2" fmla="*/ 139 w 140"/>
                  <a:gd name="T3" fmla="*/ 71 h 296"/>
                  <a:gd name="T4" fmla="*/ 138 w 140"/>
                  <a:gd name="T5" fmla="*/ 71 h 296"/>
                  <a:gd name="T6" fmla="*/ 93 w 140"/>
                  <a:gd name="T7" fmla="*/ 296 h 296"/>
                  <a:gd name="T8" fmla="*/ 84 w 140"/>
                  <a:gd name="T9" fmla="*/ 296 h 296"/>
                  <a:gd name="T10" fmla="*/ 75 w 140"/>
                  <a:gd name="T11" fmla="*/ 294 h 296"/>
                  <a:gd name="T12" fmla="*/ 63 w 140"/>
                  <a:gd name="T13" fmla="*/ 261 h 296"/>
                  <a:gd name="T14" fmla="*/ 33 w 140"/>
                  <a:gd name="T15" fmla="*/ 170 h 296"/>
                  <a:gd name="T16" fmla="*/ 0 w 140"/>
                  <a:gd name="T17" fmla="*/ 34 h 296"/>
                  <a:gd name="T18" fmla="*/ 0 w 140"/>
                  <a:gd name="T19" fmla="*/ 27 h 296"/>
                  <a:gd name="T20" fmla="*/ 16 w 140"/>
                  <a:gd name="T21" fmla="*/ 0 h 296"/>
                  <a:gd name="T22" fmla="*/ 67 w 140"/>
                  <a:gd name="T23" fmla="*/ 34 h 296"/>
                  <a:gd name="T24" fmla="*/ 70 w 140"/>
                  <a:gd name="T25" fmla="*/ 68 h 296"/>
                  <a:gd name="T26" fmla="*/ 81 w 140"/>
                  <a:gd name="T27" fmla="*/ 61 h 296"/>
                  <a:gd name="T28" fmla="*/ 76 w 140"/>
                  <a:gd name="T29" fmla="*/ 43 h 296"/>
                  <a:gd name="T30" fmla="*/ 110 w 140"/>
                  <a:gd name="T31" fmla="*/ 11 h 296"/>
                  <a:gd name="T32" fmla="*/ 121 w 140"/>
                  <a:gd name="T33" fmla="*/ 3 h 296"/>
                  <a:gd name="T34" fmla="*/ 139 w 140"/>
                  <a:gd name="T35" fmla="*/ 64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0" h="296">
                    <a:moveTo>
                      <a:pt x="139" y="64"/>
                    </a:moveTo>
                    <a:cubicBezTo>
                      <a:pt x="139" y="67"/>
                      <a:pt x="139" y="68"/>
                      <a:pt x="139" y="71"/>
                    </a:cubicBezTo>
                    <a:cubicBezTo>
                      <a:pt x="138" y="71"/>
                      <a:pt x="138" y="71"/>
                      <a:pt x="138" y="71"/>
                    </a:cubicBezTo>
                    <a:cubicBezTo>
                      <a:pt x="125" y="148"/>
                      <a:pt x="108" y="221"/>
                      <a:pt x="93" y="296"/>
                    </a:cubicBezTo>
                    <a:cubicBezTo>
                      <a:pt x="90" y="296"/>
                      <a:pt x="87" y="296"/>
                      <a:pt x="84" y="296"/>
                    </a:cubicBezTo>
                    <a:cubicBezTo>
                      <a:pt x="85" y="294"/>
                      <a:pt x="78" y="296"/>
                      <a:pt x="75" y="294"/>
                    </a:cubicBezTo>
                    <a:cubicBezTo>
                      <a:pt x="72" y="291"/>
                      <a:pt x="67" y="273"/>
                      <a:pt x="63" y="261"/>
                    </a:cubicBezTo>
                    <a:cubicBezTo>
                      <a:pt x="53" y="231"/>
                      <a:pt x="42" y="201"/>
                      <a:pt x="33" y="170"/>
                    </a:cubicBezTo>
                    <a:cubicBezTo>
                      <a:pt x="18" y="118"/>
                      <a:pt x="8" y="74"/>
                      <a:pt x="0" y="34"/>
                    </a:cubicBezTo>
                    <a:cubicBezTo>
                      <a:pt x="0" y="32"/>
                      <a:pt x="0" y="29"/>
                      <a:pt x="0" y="27"/>
                    </a:cubicBezTo>
                    <a:cubicBezTo>
                      <a:pt x="3" y="16"/>
                      <a:pt x="3" y="0"/>
                      <a:pt x="16" y="0"/>
                    </a:cubicBezTo>
                    <a:cubicBezTo>
                      <a:pt x="31" y="13"/>
                      <a:pt x="49" y="23"/>
                      <a:pt x="67" y="34"/>
                    </a:cubicBezTo>
                    <a:cubicBezTo>
                      <a:pt x="74" y="43"/>
                      <a:pt x="71" y="56"/>
                      <a:pt x="70" y="68"/>
                    </a:cubicBezTo>
                    <a:cubicBezTo>
                      <a:pt x="75" y="68"/>
                      <a:pt x="80" y="64"/>
                      <a:pt x="81" y="61"/>
                    </a:cubicBezTo>
                    <a:cubicBezTo>
                      <a:pt x="80" y="62"/>
                      <a:pt x="72" y="49"/>
                      <a:pt x="76" y="43"/>
                    </a:cubicBezTo>
                    <a:cubicBezTo>
                      <a:pt x="87" y="33"/>
                      <a:pt x="98" y="22"/>
                      <a:pt x="110" y="11"/>
                    </a:cubicBezTo>
                    <a:cubicBezTo>
                      <a:pt x="114" y="8"/>
                      <a:pt x="116" y="0"/>
                      <a:pt x="121" y="3"/>
                    </a:cubicBezTo>
                    <a:cubicBezTo>
                      <a:pt x="140" y="11"/>
                      <a:pt x="134" y="43"/>
                      <a:pt x="139" y="64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63" name="Freeform 162">
                <a:extLst>
                  <a:ext uri="{FF2B5EF4-FFF2-40B4-BE49-F238E27FC236}">
                    <a16:creationId xmlns:a16="http://schemas.microsoft.com/office/drawing/2014/main" id="{313D0016-8CAD-461B-8B0D-BB4D3B3793E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19371" y="1709743"/>
                <a:ext cx="1695457" cy="2039945"/>
              </a:xfrm>
              <a:custGeom>
                <a:avLst/>
                <a:gdLst>
                  <a:gd name="T0" fmla="*/ 289 w 452"/>
                  <a:gd name="T1" fmla="*/ 0 h 544"/>
                  <a:gd name="T2" fmla="*/ 293 w 452"/>
                  <a:gd name="T3" fmla="*/ 0 h 544"/>
                  <a:gd name="T4" fmla="*/ 403 w 452"/>
                  <a:gd name="T5" fmla="*/ 35 h 544"/>
                  <a:gd name="T6" fmla="*/ 413 w 452"/>
                  <a:gd name="T7" fmla="*/ 78 h 544"/>
                  <a:gd name="T8" fmla="*/ 414 w 452"/>
                  <a:gd name="T9" fmla="*/ 130 h 544"/>
                  <a:gd name="T10" fmla="*/ 421 w 452"/>
                  <a:gd name="T11" fmla="*/ 163 h 544"/>
                  <a:gd name="T12" fmla="*/ 424 w 452"/>
                  <a:gd name="T13" fmla="*/ 225 h 544"/>
                  <a:gd name="T14" fmla="*/ 446 w 452"/>
                  <a:gd name="T15" fmla="*/ 341 h 544"/>
                  <a:gd name="T16" fmla="*/ 452 w 452"/>
                  <a:gd name="T17" fmla="*/ 475 h 544"/>
                  <a:gd name="T18" fmla="*/ 439 w 452"/>
                  <a:gd name="T19" fmla="*/ 471 h 544"/>
                  <a:gd name="T20" fmla="*/ 395 w 452"/>
                  <a:gd name="T21" fmla="*/ 476 h 544"/>
                  <a:gd name="T22" fmla="*/ 395 w 452"/>
                  <a:gd name="T23" fmla="*/ 513 h 544"/>
                  <a:gd name="T24" fmla="*/ 340 w 452"/>
                  <a:gd name="T25" fmla="*/ 517 h 544"/>
                  <a:gd name="T26" fmla="*/ 289 w 452"/>
                  <a:gd name="T27" fmla="*/ 470 h 544"/>
                  <a:gd name="T28" fmla="*/ 248 w 452"/>
                  <a:gd name="T29" fmla="*/ 372 h 544"/>
                  <a:gd name="T30" fmla="*/ 206 w 452"/>
                  <a:gd name="T31" fmla="*/ 527 h 544"/>
                  <a:gd name="T32" fmla="*/ 70 w 452"/>
                  <a:gd name="T33" fmla="*/ 523 h 544"/>
                  <a:gd name="T34" fmla="*/ 70 w 452"/>
                  <a:gd name="T35" fmla="*/ 499 h 544"/>
                  <a:gd name="T36" fmla="*/ 56 w 452"/>
                  <a:gd name="T37" fmla="*/ 486 h 544"/>
                  <a:gd name="T38" fmla="*/ 4 w 452"/>
                  <a:gd name="T39" fmla="*/ 499 h 544"/>
                  <a:gd name="T40" fmla="*/ 4 w 452"/>
                  <a:gd name="T41" fmla="*/ 364 h 544"/>
                  <a:gd name="T42" fmla="*/ 12 w 452"/>
                  <a:gd name="T43" fmla="*/ 322 h 544"/>
                  <a:gd name="T44" fmla="*/ 16 w 452"/>
                  <a:gd name="T45" fmla="*/ 264 h 544"/>
                  <a:gd name="T46" fmla="*/ 33 w 452"/>
                  <a:gd name="T47" fmla="*/ 124 h 544"/>
                  <a:gd name="T48" fmla="*/ 49 w 452"/>
                  <a:gd name="T49" fmla="*/ 44 h 544"/>
                  <a:gd name="T50" fmla="*/ 107 w 452"/>
                  <a:gd name="T51" fmla="*/ 25 h 544"/>
                  <a:gd name="T52" fmla="*/ 163 w 452"/>
                  <a:gd name="T53" fmla="*/ 4 h 544"/>
                  <a:gd name="T54" fmla="*/ 196 w 452"/>
                  <a:gd name="T55" fmla="*/ 153 h 544"/>
                  <a:gd name="T56" fmla="*/ 228 w 452"/>
                  <a:gd name="T57" fmla="*/ 255 h 544"/>
                  <a:gd name="T58" fmla="*/ 244 w 452"/>
                  <a:gd name="T59" fmla="*/ 285 h 544"/>
                  <a:gd name="T60" fmla="*/ 251 w 452"/>
                  <a:gd name="T61" fmla="*/ 265 h 544"/>
                  <a:gd name="T62" fmla="*/ 256 w 452"/>
                  <a:gd name="T63" fmla="*/ 242 h 544"/>
                  <a:gd name="T64" fmla="*/ 285 w 452"/>
                  <a:gd name="T65" fmla="*/ 109 h 544"/>
                  <a:gd name="T66" fmla="*/ 289 w 452"/>
                  <a:gd name="T67" fmla="*/ 0 h 544"/>
                  <a:gd name="T68" fmla="*/ 80 w 452"/>
                  <a:gd name="T69" fmla="*/ 314 h 544"/>
                  <a:gd name="T70" fmla="*/ 80 w 452"/>
                  <a:gd name="T71" fmla="*/ 344 h 544"/>
                  <a:gd name="T72" fmla="*/ 80 w 452"/>
                  <a:gd name="T73" fmla="*/ 383 h 544"/>
                  <a:gd name="T74" fmla="*/ 92 w 452"/>
                  <a:gd name="T75" fmla="*/ 332 h 544"/>
                  <a:gd name="T76" fmla="*/ 92 w 452"/>
                  <a:gd name="T77" fmla="*/ 265 h 544"/>
                  <a:gd name="T78" fmla="*/ 80 w 452"/>
                  <a:gd name="T79" fmla="*/ 314 h 5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52" h="544">
                    <a:moveTo>
                      <a:pt x="289" y="0"/>
                    </a:moveTo>
                    <a:cubicBezTo>
                      <a:pt x="290" y="0"/>
                      <a:pt x="291" y="0"/>
                      <a:pt x="293" y="0"/>
                    </a:cubicBezTo>
                    <a:cubicBezTo>
                      <a:pt x="329" y="13"/>
                      <a:pt x="366" y="25"/>
                      <a:pt x="403" y="35"/>
                    </a:cubicBezTo>
                    <a:cubicBezTo>
                      <a:pt x="405" y="50"/>
                      <a:pt x="411" y="63"/>
                      <a:pt x="413" y="78"/>
                    </a:cubicBezTo>
                    <a:cubicBezTo>
                      <a:pt x="414" y="95"/>
                      <a:pt x="413" y="112"/>
                      <a:pt x="414" y="130"/>
                    </a:cubicBezTo>
                    <a:cubicBezTo>
                      <a:pt x="414" y="142"/>
                      <a:pt x="420" y="152"/>
                      <a:pt x="421" y="163"/>
                    </a:cubicBezTo>
                    <a:cubicBezTo>
                      <a:pt x="422" y="185"/>
                      <a:pt x="421" y="205"/>
                      <a:pt x="424" y="225"/>
                    </a:cubicBezTo>
                    <a:cubicBezTo>
                      <a:pt x="429" y="265"/>
                      <a:pt x="441" y="302"/>
                      <a:pt x="446" y="341"/>
                    </a:cubicBezTo>
                    <a:cubicBezTo>
                      <a:pt x="451" y="384"/>
                      <a:pt x="449" y="426"/>
                      <a:pt x="452" y="475"/>
                    </a:cubicBezTo>
                    <a:cubicBezTo>
                      <a:pt x="450" y="480"/>
                      <a:pt x="443" y="472"/>
                      <a:pt x="439" y="471"/>
                    </a:cubicBezTo>
                    <a:cubicBezTo>
                      <a:pt x="424" y="467"/>
                      <a:pt x="404" y="467"/>
                      <a:pt x="395" y="476"/>
                    </a:cubicBezTo>
                    <a:cubicBezTo>
                      <a:pt x="395" y="489"/>
                      <a:pt x="395" y="500"/>
                      <a:pt x="395" y="513"/>
                    </a:cubicBezTo>
                    <a:cubicBezTo>
                      <a:pt x="375" y="513"/>
                      <a:pt x="357" y="519"/>
                      <a:pt x="340" y="517"/>
                    </a:cubicBezTo>
                    <a:cubicBezTo>
                      <a:pt x="312" y="514"/>
                      <a:pt x="301" y="490"/>
                      <a:pt x="289" y="470"/>
                    </a:cubicBezTo>
                    <a:cubicBezTo>
                      <a:pt x="273" y="443"/>
                      <a:pt x="256" y="400"/>
                      <a:pt x="248" y="372"/>
                    </a:cubicBezTo>
                    <a:cubicBezTo>
                      <a:pt x="238" y="428"/>
                      <a:pt x="235" y="489"/>
                      <a:pt x="206" y="527"/>
                    </a:cubicBezTo>
                    <a:cubicBezTo>
                      <a:pt x="171" y="544"/>
                      <a:pt x="108" y="532"/>
                      <a:pt x="70" y="523"/>
                    </a:cubicBezTo>
                    <a:cubicBezTo>
                      <a:pt x="70" y="515"/>
                      <a:pt x="70" y="506"/>
                      <a:pt x="70" y="499"/>
                    </a:cubicBezTo>
                    <a:cubicBezTo>
                      <a:pt x="63" y="501"/>
                      <a:pt x="61" y="490"/>
                      <a:pt x="56" y="486"/>
                    </a:cubicBezTo>
                    <a:cubicBezTo>
                      <a:pt x="35" y="486"/>
                      <a:pt x="19" y="492"/>
                      <a:pt x="4" y="499"/>
                    </a:cubicBezTo>
                    <a:cubicBezTo>
                      <a:pt x="7" y="454"/>
                      <a:pt x="0" y="410"/>
                      <a:pt x="4" y="364"/>
                    </a:cubicBezTo>
                    <a:cubicBezTo>
                      <a:pt x="4" y="350"/>
                      <a:pt x="10" y="336"/>
                      <a:pt x="12" y="322"/>
                    </a:cubicBezTo>
                    <a:cubicBezTo>
                      <a:pt x="14" y="303"/>
                      <a:pt x="14" y="283"/>
                      <a:pt x="16" y="264"/>
                    </a:cubicBezTo>
                    <a:cubicBezTo>
                      <a:pt x="23" y="218"/>
                      <a:pt x="24" y="170"/>
                      <a:pt x="33" y="124"/>
                    </a:cubicBezTo>
                    <a:cubicBezTo>
                      <a:pt x="40" y="97"/>
                      <a:pt x="41" y="69"/>
                      <a:pt x="49" y="44"/>
                    </a:cubicBezTo>
                    <a:cubicBezTo>
                      <a:pt x="67" y="35"/>
                      <a:pt x="87" y="31"/>
                      <a:pt x="107" y="25"/>
                    </a:cubicBezTo>
                    <a:cubicBezTo>
                      <a:pt x="125" y="17"/>
                      <a:pt x="143" y="9"/>
                      <a:pt x="163" y="4"/>
                    </a:cubicBezTo>
                    <a:cubicBezTo>
                      <a:pt x="175" y="54"/>
                      <a:pt x="184" y="105"/>
                      <a:pt x="196" y="153"/>
                    </a:cubicBezTo>
                    <a:cubicBezTo>
                      <a:pt x="205" y="189"/>
                      <a:pt x="217" y="223"/>
                      <a:pt x="228" y="255"/>
                    </a:cubicBezTo>
                    <a:cubicBezTo>
                      <a:pt x="232" y="265"/>
                      <a:pt x="235" y="279"/>
                      <a:pt x="244" y="285"/>
                    </a:cubicBezTo>
                    <a:cubicBezTo>
                      <a:pt x="251" y="280"/>
                      <a:pt x="249" y="271"/>
                      <a:pt x="251" y="265"/>
                    </a:cubicBezTo>
                    <a:cubicBezTo>
                      <a:pt x="252" y="257"/>
                      <a:pt x="253" y="250"/>
                      <a:pt x="256" y="242"/>
                    </a:cubicBezTo>
                    <a:cubicBezTo>
                      <a:pt x="265" y="196"/>
                      <a:pt x="278" y="154"/>
                      <a:pt x="285" y="109"/>
                    </a:cubicBezTo>
                    <a:cubicBezTo>
                      <a:pt x="290" y="75"/>
                      <a:pt x="286" y="35"/>
                      <a:pt x="289" y="0"/>
                    </a:cubicBezTo>
                    <a:close/>
                    <a:moveTo>
                      <a:pt x="80" y="314"/>
                    </a:moveTo>
                    <a:cubicBezTo>
                      <a:pt x="79" y="323"/>
                      <a:pt x="82" y="334"/>
                      <a:pt x="80" y="344"/>
                    </a:cubicBezTo>
                    <a:cubicBezTo>
                      <a:pt x="80" y="356"/>
                      <a:pt x="76" y="370"/>
                      <a:pt x="80" y="383"/>
                    </a:cubicBezTo>
                    <a:cubicBezTo>
                      <a:pt x="84" y="367"/>
                      <a:pt x="88" y="350"/>
                      <a:pt x="92" y="332"/>
                    </a:cubicBezTo>
                    <a:cubicBezTo>
                      <a:pt x="96" y="313"/>
                      <a:pt x="101" y="281"/>
                      <a:pt x="92" y="265"/>
                    </a:cubicBezTo>
                    <a:cubicBezTo>
                      <a:pt x="91" y="284"/>
                      <a:pt x="83" y="297"/>
                      <a:pt x="80" y="314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64" name="Freeform 163">
                <a:extLst>
                  <a:ext uri="{FF2B5EF4-FFF2-40B4-BE49-F238E27FC236}">
                    <a16:creationId xmlns:a16="http://schemas.microsoft.com/office/drawing/2014/main" id="{EA9CC43B-63EA-4D01-AC35-94C08EC9FA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70225" y="1665292"/>
                <a:ext cx="839790" cy="1258889"/>
              </a:xfrm>
              <a:custGeom>
                <a:avLst/>
                <a:gdLst>
                  <a:gd name="T0" fmla="*/ 160 w 224"/>
                  <a:gd name="T1" fmla="*/ 0 h 336"/>
                  <a:gd name="T2" fmla="*/ 161 w 224"/>
                  <a:gd name="T3" fmla="*/ 0 h 336"/>
                  <a:gd name="T4" fmla="*/ 192 w 224"/>
                  <a:gd name="T5" fmla="*/ 20 h 336"/>
                  <a:gd name="T6" fmla="*/ 219 w 224"/>
                  <a:gd name="T7" fmla="*/ 62 h 336"/>
                  <a:gd name="T8" fmla="*/ 202 w 224"/>
                  <a:gd name="T9" fmla="*/ 79 h 336"/>
                  <a:gd name="T10" fmla="*/ 224 w 224"/>
                  <a:gd name="T11" fmla="*/ 101 h 336"/>
                  <a:gd name="T12" fmla="*/ 224 w 224"/>
                  <a:gd name="T13" fmla="*/ 104 h 336"/>
                  <a:gd name="T14" fmla="*/ 122 w 224"/>
                  <a:gd name="T15" fmla="*/ 336 h 336"/>
                  <a:gd name="T16" fmla="*/ 121 w 224"/>
                  <a:gd name="T17" fmla="*/ 308 h 336"/>
                  <a:gd name="T18" fmla="*/ 2 w 224"/>
                  <a:gd name="T19" fmla="*/ 111 h 336"/>
                  <a:gd name="T20" fmla="*/ 17 w 224"/>
                  <a:gd name="T21" fmla="*/ 84 h 336"/>
                  <a:gd name="T22" fmla="*/ 0 w 224"/>
                  <a:gd name="T23" fmla="*/ 65 h 336"/>
                  <a:gd name="T24" fmla="*/ 0 w 224"/>
                  <a:gd name="T25" fmla="*/ 63 h 336"/>
                  <a:gd name="T26" fmla="*/ 48 w 224"/>
                  <a:gd name="T27" fmla="*/ 8 h 336"/>
                  <a:gd name="T28" fmla="*/ 122 w 224"/>
                  <a:gd name="T29" fmla="*/ 293 h 336"/>
                  <a:gd name="T30" fmla="*/ 160 w 224"/>
                  <a:gd name="T31" fmla="*/ 0 h 3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24" h="336">
                    <a:moveTo>
                      <a:pt x="160" y="0"/>
                    </a:moveTo>
                    <a:cubicBezTo>
                      <a:pt x="160" y="0"/>
                      <a:pt x="160" y="0"/>
                      <a:pt x="161" y="0"/>
                    </a:cubicBezTo>
                    <a:cubicBezTo>
                      <a:pt x="169" y="9"/>
                      <a:pt x="177" y="18"/>
                      <a:pt x="192" y="20"/>
                    </a:cubicBezTo>
                    <a:cubicBezTo>
                      <a:pt x="200" y="35"/>
                      <a:pt x="210" y="48"/>
                      <a:pt x="219" y="62"/>
                    </a:cubicBezTo>
                    <a:cubicBezTo>
                      <a:pt x="217" y="69"/>
                      <a:pt x="206" y="72"/>
                      <a:pt x="202" y="79"/>
                    </a:cubicBezTo>
                    <a:cubicBezTo>
                      <a:pt x="209" y="87"/>
                      <a:pt x="217" y="95"/>
                      <a:pt x="224" y="101"/>
                    </a:cubicBezTo>
                    <a:cubicBezTo>
                      <a:pt x="224" y="102"/>
                      <a:pt x="224" y="104"/>
                      <a:pt x="224" y="104"/>
                    </a:cubicBezTo>
                    <a:cubicBezTo>
                      <a:pt x="197" y="189"/>
                      <a:pt x="160" y="263"/>
                      <a:pt x="122" y="336"/>
                    </a:cubicBezTo>
                    <a:cubicBezTo>
                      <a:pt x="117" y="333"/>
                      <a:pt x="118" y="315"/>
                      <a:pt x="121" y="308"/>
                    </a:cubicBezTo>
                    <a:cubicBezTo>
                      <a:pt x="77" y="247"/>
                      <a:pt x="35" y="184"/>
                      <a:pt x="2" y="111"/>
                    </a:cubicBezTo>
                    <a:cubicBezTo>
                      <a:pt x="6" y="101"/>
                      <a:pt x="12" y="93"/>
                      <a:pt x="17" y="84"/>
                    </a:cubicBezTo>
                    <a:cubicBezTo>
                      <a:pt x="15" y="76"/>
                      <a:pt x="7" y="72"/>
                      <a:pt x="0" y="65"/>
                    </a:cubicBezTo>
                    <a:cubicBezTo>
                      <a:pt x="0" y="65"/>
                      <a:pt x="0" y="64"/>
                      <a:pt x="0" y="63"/>
                    </a:cubicBezTo>
                    <a:cubicBezTo>
                      <a:pt x="16" y="44"/>
                      <a:pt x="25" y="18"/>
                      <a:pt x="48" y="8"/>
                    </a:cubicBezTo>
                    <a:cubicBezTo>
                      <a:pt x="73" y="104"/>
                      <a:pt x="95" y="200"/>
                      <a:pt x="122" y="293"/>
                    </a:cubicBezTo>
                    <a:cubicBezTo>
                      <a:pt x="136" y="198"/>
                      <a:pt x="164" y="114"/>
                      <a:pt x="160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65" name="Freeform 164">
                <a:extLst>
                  <a:ext uri="{FF2B5EF4-FFF2-40B4-BE49-F238E27FC236}">
                    <a16:creationId xmlns:a16="http://schemas.microsoft.com/office/drawing/2014/main" id="{63A22686-23C8-4E6F-A4DE-ED450E7B3B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9611" y="1619255"/>
                <a:ext cx="165099" cy="330202"/>
              </a:xfrm>
              <a:custGeom>
                <a:avLst/>
                <a:gdLst>
                  <a:gd name="T0" fmla="*/ 0 w 44"/>
                  <a:gd name="T1" fmla="*/ 21 h 88"/>
                  <a:gd name="T2" fmla="*/ 0 w 44"/>
                  <a:gd name="T3" fmla="*/ 21 h 88"/>
                  <a:gd name="T4" fmla="*/ 12 w 44"/>
                  <a:gd name="T5" fmla="*/ 0 h 88"/>
                  <a:gd name="T6" fmla="*/ 44 w 44"/>
                  <a:gd name="T7" fmla="*/ 46 h 88"/>
                  <a:gd name="T8" fmla="*/ 19 w 44"/>
                  <a:gd name="T9" fmla="*/ 88 h 88"/>
                  <a:gd name="T10" fmla="*/ 0 w 44"/>
                  <a:gd name="T11" fmla="*/ 21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88">
                    <a:moveTo>
                      <a:pt x="0" y="21"/>
                    </a:moveTo>
                    <a:cubicBezTo>
                      <a:pt x="0" y="21"/>
                      <a:pt x="0" y="21"/>
                      <a:pt x="0" y="21"/>
                    </a:cubicBezTo>
                    <a:cubicBezTo>
                      <a:pt x="8" y="17"/>
                      <a:pt x="6" y="4"/>
                      <a:pt x="12" y="0"/>
                    </a:cubicBezTo>
                    <a:cubicBezTo>
                      <a:pt x="17" y="21"/>
                      <a:pt x="35" y="28"/>
                      <a:pt x="44" y="46"/>
                    </a:cubicBezTo>
                    <a:cubicBezTo>
                      <a:pt x="32" y="56"/>
                      <a:pt x="35" y="82"/>
                      <a:pt x="19" y="88"/>
                    </a:cubicBezTo>
                    <a:cubicBezTo>
                      <a:pt x="11" y="63"/>
                      <a:pt x="8" y="50"/>
                      <a:pt x="0" y="21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66" name="Freeform 165">
                <a:extLst>
                  <a:ext uri="{FF2B5EF4-FFF2-40B4-BE49-F238E27FC236}">
                    <a16:creationId xmlns:a16="http://schemas.microsoft.com/office/drawing/2014/main" id="{FE7B2352-2A99-4A06-9FFD-106DB1342E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65526" y="1619255"/>
                <a:ext cx="134939" cy="346075"/>
              </a:xfrm>
              <a:custGeom>
                <a:avLst/>
                <a:gdLst>
                  <a:gd name="T0" fmla="*/ 22 w 36"/>
                  <a:gd name="T1" fmla="*/ 0 h 92"/>
                  <a:gd name="T2" fmla="*/ 22 w 36"/>
                  <a:gd name="T3" fmla="*/ 92 h 92"/>
                  <a:gd name="T4" fmla="*/ 0 w 36"/>
                  <a:gd name="T5" fmla="*/ 46 h 92"/>
                  <a:gd name="T6" fmla="*/ 22 w 36"/>
                  <a:gd name="T7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6" h="92">
                    <a:moveTo>
                      <a:pt x="22" y="0"/>
                    </a:moveTo>
                    <a:cubicBezTo>
                      <a:pt x="36" y="13"/>
                      <a:pt x="29" y="69"/>
                      <a:pt x="22" y="92"/>
                    </a:cubicBezTo>
                    <a:cubicBezTo>
                      <a:pt x="3" y="91"/>
                      <a:pt x="8" y="55"/>
                      <a:pt x="0" y="46"/>
                    </a:cubicBezTo>
                    <a:cubicBezTo>
                      <a:pt x="4" y="29"/>
                      <a:pt x="22" y="26"/>
                      <a:pt x="22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67" name="Freeform 166">
                <a:extLst>
                  <a:ext uri="{FF2B5EF4-FFF2-40B4-BE49-F238E27FC236}">
                    <a16:creationId xmlns:a16="http://schemas.microsoft.com/office/drawing/2014/main" id="{4D4A10BE-79D5-48D7-9D22-C345889F8A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6274" y="955678"/>
                <a:ext cx="581026" cy="346075"/>
              </a:xfrm>
              <a:custGeom>
                <a:avLst/>
                <a:gdLst>
                  <a:gd name="T0" fmla="*/ 20 w 155"/>
                  <a:gd name="T1" fmla="*/ 49 h 92"/>
                  <a:gd name="T2" fmla="*/ 54 w 155"/>
                  <a:gd name="T3" fmla="*/ 54 h 92"/>
                  <a:gd name="T4" fmla="*/ 98 w 155"/>
                  <a:gd name="T5" fmla="*/ 59 h 92"/>
                  <a:gd name="T6" fmla="*/ 128 w 155"/>
                  <a:gd name="T7" fmla="*/ 67 h 92"/>
                  <a:gd name="T8" fmla="*/ 136 w 155"/>
                  <a:gd name="T9" fmla="*/ 92 h 92"/>
                  <a:gd name="T10" fmla="*/ 105 w 155"/>
                  <a:gd name="T11" fmla="*/ 5 h 92"/>
                  <a:gd name="T12" fmla="*/ 55 w 155"/>
                  <a:gd name="T13" fmla="*/ 4 h 92"/>
                  <a:gd name="T14" fmla="*/ 24 w 155"/>
                  <a:gd name="T15" fmla="*/ 21 h 92"/>
                  <a:gd name="T16" fmla="*/ 0 w 155"/>
                  <a:gd name="T17" fmla="*/ 45 h 92"/>
                  <a:gd name="T18" fmla="*/ 6 w 155"/>
                  <a:gd name="T19" fmla="*/ 91 h 92"/>
                  <a:gd name="T20" fmla="*/ 7 w 155"/>
                  <a:gd name="T21" fmla="*/ 91 h 92"/>
                  <a:gd name="T22" fmla="*/ 20 w 155"/>
                  <a:gd name="T23" fmla="*/ 49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5" h="92">
                    <a:moveTo>
                      <a:pt x="20" y="49"/>
                    </a:moveTo>
                    <a:cubicBezTo>
                      <a:pt x="28" y="48"/>
                      <a:pt x="33" y="47"/>
                      <a:pt x="54" y="54"/>
                    </a:cubicBezTo>
                    <a:cubicBezTo>
                      <a:pt x="75" y="60"/>
                      <a:pt x="90" y="69"/>
                      <a:pt x="98" y="59"/>
                    </a:cubicBezTo>
                    <a:cubicBezTo>
                      <a:pt x="107" y="49"/>
                      <a:pt x="127" y="62"/>
                      <a:pt x="128" y="67"/>
                    </a:cubicBezTo>
                    <a:cubicBezTo>
                      <a:pt x="130" y="73"/>
                      <a:pt x="136" y="92"/>
                      <a:pt x="136" y="92"/>
                    </a:cubicBezTo>
                    <a:cubicBezTo>
                      <a:pt x="155" y="54"/>
                      <a:pt x="132" y="19"/>
                      <a:pt x="105" y="5"/>
                    </a:cubicBezTo>
                    <a:cubicBezTo>
                      <a:pt x="86" y="5"/>
                      <a:pt x="69" y="0"/>
                      <a:pt x="55" y="4"/>
                    </a:cubicBezTo>
                    <a:cubicBezTo>
                      <a:pt x="43" y="6"/>
                      <a:pt x="34" y="15"/>
                      <a:pt x="24" y="21"/>
                    </a:cubicBezTo>
                    <a:cubicBezTo>
                      <a:pt x="15" y="29"/>
                      <a:pt x="4" y="35"/>
                      <a:pt x="0" y="45"/>
                    </a:cubicBezTo>
                    <a:cubicBezTo>
                      <a:pt x="1" y="62"/>
                      <a:pt x="1" y="77"/>
                      <a:pt x="6" y="91"/>
                    </a:cubicBezTo>
                    <a:cubicBezTo>
                      <a:pt x="7" y="91"/>
                      <a:pt x="7" y="91"/>
                      <a:pt x="7" y="91"/>
                    </a:cubicBezTo>
                    <a:cubicBezTo>
                      <a:pt x="9" y="82"/>
                      <a:pt x="14" y="51"/>
                      <a:pt x="20" y="49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68" name="Freeform 167">
                <a:extLst>
                  <a:ext uri="{FF2B5EF4-FFF2-40B4-BE49-F238E27FC236}">
                    <a16:creationId xmlns:a16="http://schemas.microsoft.com/office/drawing/2014/main" id="{4E8D6FE9-2D6D-4798-B168-756BDA35F7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16312" y="2133606"/>
                <a:ext cx="71438" cy="96838"/>
              </a:xfrm>
              <a:custGeom>
                <a:avLst/>
                <a:gdLst>
                  <a:gd name="T0" fmla="*/ 5 w 19"/>
                  <a:gd name="T1" fmla="*/ 10 h 26"/>
                  <a:gd name="T2" fmla="*/ 11 w 19"/>
                  <a:gd name="T3" fmla="*/ 2 h 26"/>
                  <a:gd name="T4" fmla="*/ 15 w 19"/>
                  <a:gd name="T5" fmla="*/ 10 h 26"/>
                  <a:gd name="T6" fmla="*/ 0 w 19"/>
                  <a:gd name="T7" fmla="*/ 22 h 26"/>
                  <a:gd name="T8" fmla="*/ 5 w 19"/>
                  <a:gd name="T9" fmla="*/ 1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6">
                    <a:moveTo>
                      <a:pt x="5" y="10"/>
                    </a:moveTo>
                    <a:cubicBezTo>
                      <a:pt x="9" y="6"/>
                      <a:pt x="5" y="0"/>
                      <a:pt x="11" y="2"/>
                    </a:cubicBezTo>
                    <a:cubicBezTo>
                      <a:pt x="16" y="4"/>
                      <a:pt x="19" y="5"/>
                      <a:pt x="15" y="10"/>
                    </a:cubicBezTo>
                    <a:cubicBezTo>
                      <a:pt x="11" y="16"/>
                      <a:pt x="0" y="26"/>
                      <a:pt x="0" y="22"/>
                    </a:cubicBezTo>
                    <a:cubicBezTo>
                      <a:pt x="0" y="19"/>
                      <a:pt x="5" y="10"/>
                      <a:pt x="5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69" name="Freeform 168">
                <a:extLst>
                  <a:ext uri="{FF2B5EF4-FFF2-40B4-BE49-F238E27FC236}">
                    <a16:creationId xmlns:a16="http://schemas.microsoft.com/office/drawing/2014/main" id="{D8D8C513-9138-4A70-BD92-D7B10E9598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7261" y="2354269"/>
                <a:ext cx="71438" cy="93661"/>
              </a:xfrm>
              <a:custGeom>
                <a:avLst/>
                <a:gdLst>
                  <a:gd name="T0" fmla="*/ 6 w 19"/>
                  <a:gd name="T1" fmla="*/ 10 h 25"/>
                  <a:gd name="T2" fmla="*/ 11 w 19"/>
                  <a:gd name="T3" fmla="*/ 2 h 25"/>
                  <a:gd name="T4" fmla="*/ 15 w 19"/>
                  <a:gd name="T5" fmla="*/ 10 h 25"/>
                  <a:gd name="T6" fmla="*/ 0 w 19"/>
                  <a:gd name="T7" fmla="*/ 22 h 25"/>
                  <a:gd name="T8" fmla="*/ 6 w 19"/>
                  <a:gd name="T9" fmla="*/ 1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5">
                    <a:moveTo>
                      <a:pt x="6" y="10"/>
                    </a:moveTo>
                    <a:cubicBezTo>
                      <a:pt x="9" y="5"/>
                      <a:pt x="6" y="0"/>
                      <a:pt x="11" y="2"/>
                    </a:cubicBezTo>
                    <a:cubicBezTo>
                      <a:pt x="16" y="4"/>
                      <a:pt x="19" y="4"/>
                      <a:pt x="15" y="10"/>
                    </a:cubicBezTo>
                    <a:cubicBezTo>
                      <a:pt x="11" y="15"/>
                      <a:pt x="0" y="25"/>
                      <a:pt x="0" y="22"/>
                    </a:cubicBezTo>
                    <a:cubicBezTo>
                      <a:pt x="0" y="19"/>
                      <a:pt x="6" y="10"/>
                      <a:pt x="6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70" name="Freeform 169">
                <a:extLst>
                  <a:ext uri="{FF2B5EF4-FFF2-40B4-BE49-F238E27FC236}">
                    <a16:creationId xmlns:a16="http://schemas.microsoft.com/office/drawing/2014/main" id="{8D74E7A7-031D-405E-815A-B27D55BCDD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27349" y="2073282"/>
                <a:ext cx="49214" cy="630240"/>
              </a:xfrm>
              <a:custGeom>
                <a:avLst/>
                <a:gdLst>
                  <a:gd name="T0" fmla="*/ 10 w 13"/>
                  <a:gd name="T1" fmla="*/ 168 h 168"/>
                  <a:gd name="T2" fmla="*/ 6 w 13"/>
                  <a:gd name="T3" fmla="*/ 39 h 168"/>
                  <a:gd name="T4" fmla="*/ 6 w 13"/>
                  <a:gd name="T5" fmla="*/ 10 h 168"/>
                  <a:gd name="T6" fmla="*/ 13 w 13"/>
                  <a:gd name="T7" fmla="*/ 10 h 168"/>
                  <a:gd name="T8" fmla="*/ 10 w 13"/>
                  <a:gd name="T9" fmla="*/ 168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68">
                    <a:moveTo>
                      <a:pt x="10" y="168"/>
                    </a:moveTo>
                    <a:cubicBezTo>
                      <a:pt x="10" y="168"/>
                      <a:pt x="11" y="61"/>
                      <a:pt x="6" y="39"/>
                    </a:cubicBezTo>
                    <a:cubicBezTo>
                      <a:pt x="0" y="17"/>
                      <a:pt x="2" y="10"/>
                      <a:pt x="6" y="10"/>
                    </a:cubicBezTo>
                    <a:cubicBezTo>
                      <a:pt x="10" y="10"/>
                      <a:pt x="13" y="0"/>
                      <a:pt x="13" y="10"/>
                    </a:cubicBezTo>
                    <a:cubicBezTo>
                      <a:pt x="13" y="20"/>
                      <a:pt x="10" y="168"/>
                      <a:pt x="10" y="168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71" name="Freeform 170">
                <a:extLst>
                  <a:ext uri="{FF2B5EF4-FFF2-40B4-BE49-F238E27FC236}">
                    <a16:creationId xmlns:a16="http://schemas.microsoft.com/office/drawing/2014/main" id="{4181891F-204E-4078-AF53-4A25C6C30B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06853" y="2106619"/>
                <a:ext cx="98425" cy="1320804"/>
              </a:xfrm>
              <a:custGeom>
                <a:avLst/>
                <a:gdLst>
                  <a:gd name="T0" fmla="*/ 26 w 26"/>
                  <a:gd name="T1" fmla="*/ 352 h 352"/>
                  <a:gd name="T2" fmla="*/ 7 w 26"/>
                  <a:gd name="T3" fmla="*/ 213 h 352"/>
                  <a:gd name="T4" fmla="*/ 7 w 26"/>
                  <a:gd name="T5" fmla="*/ 145 h 352"/>
                  <a:gd name="T6" fmla="*/ 0 w 26"/>
                  <a:gd name="T7" fmla="*/ 30 h 352"/>
                  <a:gd name="T8" fmla="*/ 10 w 26"/>
                  <a:gd name="T9" fmla="*/ 0 h 352"/>
                  <a:gd name="T10" fmla="*/ 10 w 26"/>
                  <a:gd name="T11" fmla="*/ 6 h 352"/>
                  <a:gd name="T12" fmla="*/ 26 w 26"/>
                  <a:gd name="T13" fmla="*/ 352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352">
                    <a:moveTo>
                      <a:pt x="26" y="352"/>
                    </a:moveTo>
                    <a:cubicBezTo>
                      <a:pt x="26" y="347"/>
                      <a:pt x="8" y="236"/>
                      <a:pt x="7" y="213"/>
                    </a:cubicBezTo>
                    <a:cubicBezTo>
                      <a:pt x="6" y="189"/>
                      <a:pt x="9" y="165"/>
                      <a:pt x="7" y="145"/>
                    </a:cubicBezTo>
                    <a:cubicBezTo>
                      <a:pt x="5" y="126"/>
                      <a:pt x="0" y="48"/>
                      <a:pt x="0" y="30"/>
                    </a:cubicBezTo>
                    <a:cubicBezTo>
                      <a:pt x="1" y="12"/>
                      <a:pt x="10" y="0"/>
                      <a:pt x="10" y="0"/>
                    </a:cubicBezTo>
                    <a:cubicBezTo>
                      <a:pt x="10" y="6"/>
                      <a:pt x="10" y="6"/>
                      <a:pt x="10" y="6"/>
                    </a:cubicBezTo>
                    <a:lnTo>
                      <a:pt x="26" y="352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72" name="Freeform 171">
                <a:extLst>
                  <a:ext uri="{FF2B5EF4-FFF2-40B4-BE49-F238E27FC236}">
                    <a16:creationId xmlns:a16="http://schemas.microsoft.com/office/drawing/2014/main" id="{FCB6F60B-0F7A-4AD7-A8EF-2FAA262A53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0476" y="3135321"/>
                <a:ext cx="222250" cy="58738"/>
              </a:xfrm>
              <a:custGeom>
                <a:avLst/>
                <a:gdLst>
                  <a:gd name="T0" fmla="*/ 0 w 59"/>
                  <a:gd name="T1" fmla="*/ 16 h 16"/>
                  <a:gd name="T2" fmla="*/ 52 w 59"/>
                  <a:gd name="T3" fmla="*/ 7 h 16"/>
                  <a:gd name="T4" fmla="*/ 59 w 59"/>
                  <a:gd name="T5" fmla="*/ 7 h 16"/>
                  <a:gd name="T6" fmla="*/ 0 w 59"/>
                  <a:gd name="T7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9" h="16">
                    <a:moveTo>
                      <a:pt x="0" y="16"/>
                    </a:moveTo>
                    <a:cubicBezTo>
                      <a:pt x="0" y="16"/>
                      <a:pt x="49" y="13"/>
                      <a:pt x="52" y="7"/>
                    </a:cubicBezTo>
                    <a:cubicBezTo>
                      <a:pt x="55" y="0"/>
                      <a:pt x="59" y="3"/>
                      <a:pt x="59" y="7"/>
                    </a:cubicBezTo>
                    <a:cubicBezTo>
                      <a:pt x="58" y="11"/>
                      <a:pt x="0" y="16"/>
                      <a:pt x="0" y="16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73" name="Freeform 172">
                <a:extLst>
                  <a:ext uri="{FF2B5EF4-FFF2-40B4-BE49-F238E27FC236}">
                    <a16:creationId xmlns:a16="http://schemas.microsoft.com/office/drawing/2014/main" id="{3DCA2A10-2A3B-4C61-B0D6-1D1D615BF8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7627" y="3224223"/>
                <a:ext cx="198440" cy="282574"/>
              </a:xfrm>
              <a:custGeom>
                <a:avLst/>
                <a:gdLst>
                  <a:gd name="T0" fmla="*/ 44 w 53"/>
                  <a:gd name="T1" fmla="*/ 0 h 75"/>
                  <a:gd name="T2" fmla="*/ 53 w 53"/>
                  <a:gd name="T3" fmla="*/ 75 h 75"/>
                  <a:gd name="T4" fmla="*/ 24 w 53"/>
                  <a:gd name="T5" fmla="*/ 75 h 75"/>
                  <a:gd name="T6" fmla="*/ 14 w 53"/>
                  <a:gd name="T7" fmla="*/ 69 h 75"/>
                  <a:gd name="T8" fmla="*/ 34 w 53"/>
                  <a:gd name="T9" fmla="*/ 61 h 75"/>
                  <a:gd name="T10" fmla="*/ 22 w 53"/>
                  <a:gd name="T11" fmla="*/ 38 h 75"/>
                  <a:gd name="T12" fmla="*/ 44 w 53"/>
                  <a:gd name="T1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3" h="75">
                    <a:moveTo>
                      <a:pt x="44" y="0"/>
                    </a:moveTo>
                    <a:cubicBezTo>
                      <a:pt x="53" y="75"/>
                      <a:pt x="53" y="75"/>
                      <a:pt x="53" y="75"/>
                    </a:cubicBezTo>
                    <a:cubicBezTo>
                      <a:pt x="24" y="75"/>
                      <a:pt x="24" y="75"/>
                      <a:pt x="24" y="75"/>
                    </a:cubicBezTo>
                    <a:cubicBezTo>
                      <a:pt x="24" y="75"/>
                      <a:pt x="0" y="69"/>
                      <a:pt x="14" y="69"/>
                    </a:cubicBezTo>
                    <a:cubicBezTo>
                      <a:pt x="29" y="68"/>
                      <a:pt x="42" y="73"/>
                      <a:pt x="34" y="61"/>
                    </a:cubicBezTo>
                    <a:cubicBezTo>
                      <a:pt x="27" y="48"/>
                      <a:pt x="6" y="41"/>
                      <a:pt x="22" y="38"/>
                    </a:cubicBezTo>
                    <a:cubicBezTo>
                      <a:pt x="38" y="34"/>
                      <a:pt x="44" y="0"/>
                      <a:pt x="44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74" name="Freeform 173">
                <a:extLst>
                  <a:ext uri="{FF2B5EF4-FFF2-40B4-BE49-F238E27FC236}">
                    <a16:creationId xmlns:a16="http://schemas.microsoft.com/office/drawing/2014/main" id="{0406E475-91C3-41C9-A090-3F2C670E6E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59122" y="2576519"/>
                <a:ext cx="60324" cy="490537"/>
              </a:xfrm>
              <a:custGeom>
                <a:avLst/>
                <a:gdLst>
                  <a:gd name="T0" fmla="*/ 0 w 38"/>
                  <a:gd name="T1" fmla="*/ 0 h 309"/>
                  <a:gd name="T2" fmla="*/ 29 w 38"/>
                  <a:gd name="T3" fmla="*/ 309 h 309"/>
                  <a:gd name="T4" fmla="*/ 38 w 38"/>
                  <a:gd name="T5" fmla="*/ 293 h 309"/>
                  <a:gd name="T6" fmla="*/ 0 w 38"/>
                  <a:gd name="T7" fmla="*/ 0 h 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8" h="309">
                    <a:moveTo>
                      <a:pt x="0" y="0"/>
                    </a:moveTo>
                    <a:lnTo>
                      <a:pt x="29" y="309"/>
                    </a:lnTo>
                    <a:lnTo>
                      <a:pt x="38" y="29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75" name="Freeform 174">
                <a:extLst>
                  <a:ext uri="{FF2B5EF4-FFF2-40B4-BE49-F238E27FC236}">
                    <a16:creationId xmlns:a16="http://schemas.microsoft.com/office/drawing/2014/main" id="{48944632-4335-4AF9-BDBB-F76A10DC8A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157549"/>
                <a:ext cx="288924" cy="93661"/>
              </a:xfrm>
              <a:custGeom>
                <a:avLst/>
                <a:gdLst>
                  <a:gd name="T0" fmla="*/ 0 w 77"/>
                  <a:gd name="T1" fmla="*/ 0 h 25"/>
                  <a:gd name="T2" fmla="*/ 75 w 77"/>
                  <a:gd name="T3" fmla="*/ 10 h 25"/>
                  <a:gd name="T4" fmla="*/ 68 w 77"/>
                  <a:gd name="T5" fmla="*/ 25 h 25"/>
                  <a:gd name="T6" fmla="*/ 0 w 77"/>
                  <a:gd name="T7" fmla="*/ 12 h 25"/>
                  <a:gd name="T8" fmla="*/ 0 w 77"/>
                  <a:gd name="T9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7" h="25">
                    <a:moveTo>
                      <a:pt x="0" y="0"/>
                    </a:moveTo>
                    <a:cubicBezTo>
                      <a:pt x="0" y="0"/>
                      <a:pt x="73" y="9"/>
                      <a:pt x="75" y="10"/>
                    </a:cubicBezTo>
                    <a:cubicBezTo>
                      <a:pt x="77" y="11"/>
                      <a:pt x="68" y="25"/>
                      <a:pt x="68" y="25"/>
                    </a:cubicBezTo>
                    <a:cubicBezTo>
                      <a:pt x="0" y="12"/>
                      <a:pt x="0" y="12"/>
                      <a:pt x="0" y="12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76" name="Freeform 175">
                <a:extLst>
                  <a:ext uri="{FF2B5EF4-FFF2-40B4-BE49-F238E27FC236}">
                    <a16:creationId xmlns:a16="http://schemas.microsoft.com/office/drawing/2014/main" id="{F559CCC1-76D7-4D02-A675-C9C7110398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333761"/>
                <a:ext cx="242887" cy="236537"/>
              </a:xfrm>
              <a:custGeom>
                <a:avLst/>
                <a:gdLst>
                  <a:gd name="T0" fmla="*/ 65 w 65"/>
                  <a:gd name="T1" fmla="*/ 0 h 63"/>
                  <a:gd name="T2" fmla="*/ 50 w 65"/>
                  <a:gd name="T3" fmla="*/ 60 h 63"/>
                  <a:gd name="T4" fmla="*/ 9 w 65"/>
                  <a:gd name="T5" fmla="*/ 52 h 63"/>
                  <a:gd name="T6" fmla="*/ 18 w 65"/>
                  <a:gd name="T7" fmla="*/ 46 h 63"/>
                  <a:gd name="T8" fmla="*/ 49 w 65"/>
                  <a:gd name="T9" fmla="*/ 46 h 63"/>
                  <a:gd name="T10" fmla="*/ 65 w 65"/>
                  <a:gd name="T11" fmla="*/ 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5" h="63">
                    <a:moveTo>
                      <a:pt x="65" y="0"/>
                    </a:moveTo>
                    <a:cubicBezTo>
                      <a:pt x="50" y="60"/>
                      <a:pt x="50" y="60"/>
                      <a:pt x="50" y="60"/>
                    </a:cubicBezTo>
                    <a:cubicBezTo>
                      <a:pt x="9" y="52"/>
                      <a:pt x="9" y="52"/>
                      <a:pt x="9" y="52"/>
                    </a:cubicBezTo>
                    <a:cubicBezTo>
                      <a:pt x="9" y="52"/>
                      <a:pt x="0" y="47"/>
                      <a:pt x="18" y="46"/>
                    </a:cubicBezTo>
                    <a:cubicBezTo>
                      <a:pt x="36" y="46"/>
                      <a:pt x="48" y="63"/>
                      <a:pt x="49" y="46"/>
                    </a:cubicBezTo>
                    <a:cubicBezTo>
                      <a:pt x="50" y="30"/>
                      <a:pt x="65" y="0"/>
                      <a:pt x="65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77" name="Freeform 176">
                <a:extLst>
                  <a:ext uri="{FF2B5EF4-FFF2-40B4-BE49-F238E27FC236}">
                    <a16:creationId xmlns:a16="http://schemas.microsoft.com/office/drawing/2014/main" id="{958687CA-5165-4D16-8D4E-51F3690672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0183" y="2201870"/>
                <a:ext cx="41274" cy="168276"/>
              </a:xfrm>
              <a:custGeom>
                <a:avLst/>
                <a:gdLst>
                  <a:gd name="T0" fmla="*/ 0 w 11"/>
                  <a:gd name="T1" fmla="*/ 0 h 45"/>
                  <a:gd name="T2" fmla="*/ 0 w 11"/>
                  <a:gd name="T3" fmla="*/ 21 h 45"/>
                  <a:gd name="T4" fmla="*/ 2 w 11"/>
                  <a:gd name="T5" fmla="*/ 42 h 45"/>
                  <a:gd name="T6" fmla="*/ 10 w 11"/>
                  <a:gd name="T7" fmla="*/ 5 h 45"/>
                  <a:gd name="T8" fmla="*/ 0 w 11"/>
                  <a:gd name="T9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45">
                    <a:moveTo>
                      <a:pt x="0" y="0"/>
                    </a:moveTo>
                    <a:cubicBezTo>
                      <a:pt x="0" y="5"/>
                      <a:pt x="0" y="13"/>
                      <a:pt x="0" y="21"/>
                    </a:cubicBezTo>
                    <a:cubicBezTo>
                      <a:pt x="1" y="31"/>
                      <a:pt x="2" y="41"/>
                      <a:pt x="2" y="42"/>
                    </a:cubicBezTo>
                    <a:cubicBezTo>
                      <a:pt x="4" y="45"/>
                      <a:pt x="11" y="8"/>
                      <a:pt x="10" y="5"/>
                    </a:cubicBezTo>
                    <a:cubicBezTo>
                      <a:pt x="8" y="2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78" name="Freeform 177">
                <a:extLst>
                  <a:ext uri="{FF2B5EF4-FFF2-40B4-BE49-F238E27FC236}">
                    <a16:creationId xmlns:a16="http://schemas.microsoft.com/office/drawing/2014/main" id="{2C444022-5835-48EC-A7C7-DEBCEEC733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1758" y="2786069"/>
                <a:ext cx="150812" cy="352425"/>
              </a:xfrm>
              <a:custGeom>
                <a:avLst/>
                <a:gdLst>
                  <a:gd name="T0" fmla="*/ 0 w 40"/>
                  <a:gd name="T1" fmla="*/ 0 h 94"/>
                  <a:gd name="T2" fmla="*/ 20 w 40"/>
                  <a:gd name="T3" fmla="*/ 64 h 94"/>
                  <a:gd name="T4" fmla="*/ 36 w 40"/>
                  <a:gd name="T5" fmla="*/ 82 h 94"/>
                  <a:gd name="T6" fmla="*/ 14 w 40"/>
                  <a:gd name="T7" fmla="*/ 26 h 94"/>
                  <a:gd name="T8" fmla="*/ 0 w 40"/>
                  <a:gd name="T9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94">
                    <a:moveTo>
                      <a:pt x="0" y="0"/>
                    </a:moveTo>
                    <a:cubicBezTo>
                      <a:pt x="0" y="0"/>
                      <a:pt x="12" y="47"/>
                      <a:pt x="20" y="64"/>
                    </a:cubicBezTo>
                    <a:cubicBezTo>
                      <a:pt x="28" y="82"/>
                      <a:pt x="40" y="94"/>
                      <a:pt x="36" y="82"/>
                    </a:cubicBezTo>
                    <a:cubicBezTo>
                      <a:pt x="32" y="69"/>
                      <a:pt x="20" y="36"/>
                      <a:pt x="14" y="26"/>
                    </a:cubicBezTo>
                    <a:cubicBezTo>
                      <a:pt x="9" y="1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79" name="Freeform 178">
                <a:extLst>
                  <a:ext uri="{FF2B5EF4-FFF2-40B4-BE49-F238E27FC236}">
                    <a16:creationId xmlns:a16="http://schemas.microsoft.com/office/drawing/2014/main" id="{25E6A2E9-2AD5-4F62-9E2F-86A3E8B758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9736" y="2860684"/>
                <a:ext cx="49214" cy="247650"/>
              </a:xfrm>
              <a:custGeom>
                <a:avLst/>
                <a:gdLst>
                  <a:gd name="T0" fmla="*/ 0 w 13"/>
                  <a:gd name="T1" fmla="*/ 0 h 66"/>
                  <a:gd name="T2" fmla="*/ 10 w 13"/>
                  <a:gd name="T3" fmla="*/ 31 h 66"/>
                  <a:gd name="T4" fmla="*/ 6 w 13"/>
                  <a:gd name="T5" fmla="*/ 50 h 66"/>
                  <a:gd name="T6" fmla="*/ 0 w 13"/>
                  <a:gd name="T7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66">
                    <a:moveTo>
                      <a:pt x="0" y="0"/>
                    </a:moveTo>
                    <a:cubicBezTo>
                      <a:pt x="0" y="0"/>
                      <a:pt x="13" y="15"/>
                      <a:pt x="10" y="31"/>
                    </a:cubicBezTo>
                    <a:cubicBezTo>
                      <a:pt x="8" y="47"/>
                      <a:pt x="5" y="66"/>
                      <a:pt x="6" y="50"/>
                    </a:cubicBezTo>
                    <a:cubicBezTo>
                      <a:pt x="6" y="3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80" name="Freeform 188">
                <a:extLst>
                  <a:ext uri="{FF2B5EF4-FFF2-40B4-BE49-F238E27FC236}">
                    <a16:creationId xmlns:a16="http://schemas.microsoft.com/office/drawing/2014/main" id="{2CF8AE74-B1BE-4798-A0FA-16A6EDAB9C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01994" y="1544640"/>
                <a:ext cx="349252" cy="131762"/>
              </a:xfrm>
              <a:custGeom>
                <a:avLst/>
                <a:gdLst>
                  <a:gd name="T0" fmla="*/ 0 w 93"/>
                  <a:gd name="T1" fmla="*/ 0 h 35"/>
                  <a:gd name="T2" fmla="*/ 33 w 93"/>
                  <a:gd name="T3" fmla="*/ 29 h 35"/>
                  <a:gd name="T4" fmla="*/ 68 w 93"/>
                  <a:gd name="T5" fmla="*/ 24 h 35"/>
                  <a:gd name="T6" fmla="*/ 85 w 93"/>
                  <a:gd name="T7" fmla="*/ 7 h 35"/>
                  <a:gd name="T8" fmla="*/ 92 w 93"/>
                  <a:gd name="T9" fmla="*/ 6 h 35"/>
                  <a:gd name="T10" fmla="*/ 85 w 93"/>
                  <a:gd name="T11" fmla="*/ 19 h 35"/>
                  <a:gd name="T12" fmla="*/ 67 w 93"/>
                  <a:gd name="T13" fmla="*/ 32 h 35"/>
                  <a:gd name="T14" fmla="*/ 28 w 93"/>
                  <a:gd name="T15" fmla="*/ 32 h 35"/>
                  <a:gd name="T16" fmla="*/ 0 w 93"/>
                  <a:gd name="T17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3" h="35">
                    <a:moveTo>
                      <a:pt x="0" y="0"/>
                    </a:moveTo>
                    <a:cubicBezTo>
                      <a:pt x="2" y="4"/>
                      <a:pt x="21" y="25"/>
                      <a:pt x="33" y="29"/>
                    </a:cubicBezTo>
                    <a:cubicBezTo>
                      <a:pt x="45" y="32"/>
                      <a:pt x="63" y="29"/>
                      <a:pt x="68" y="24"/>
                    </a:cubicBezTo>
                    <a:cubicBezTo>
                      <a:pt x="73" y="19"/>
                      <a:pt x="84" y="9"/>
                      <a:pt x="85" y="7"/>
                    </a:cubicBezTo>
                    <a:cubicBezTo>
                      <a:pt x="86" y="5"/>
                      <a:pt x="93" y="1"/>
                      <a:pt x="92" y="6"/>
                    </a:cubicBezTo>
                    <a:cubicBezTo>
                      <a:pt x="91" y="10"/>
                      <a:pt x="89" y="14"/>
                      <a:pt x="85" y="19"/>
                    </a:cubicBezTo>
                    <a:cubicBezTo>
                      <a:pt x="82" y="24"/>
                      <a:pt x="75" y="33"/>
                      <a:pt x="67" y="32"/>
                    </a:cubicBezTo>
                    <a:cubicBezTo>
                      <a:pt x="58" y="32"/>
                      <a:pt x="36" y="35"/>
                      <a:pt x="28" y="32"/>
                    </a:cubicBezTo>
                    <a:cubicBezTo>
                      <a:pt x="19" y="3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81" name="Freeform 103">
                <a:extLst>
                  <a:ext uri="{FF2B5EF4-FFF2-40B4-BE49-F238E27FC236}">
                    <a16:creationId xmlns:a16="http://schemas.microsoft.com/office/drawing/2014/main" id="{78B2BECB-878A-4BAA-9B16-3F14CC2188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3697" y="1061826"/>
                <a:ext cx="226796" cy="66888"/>
              </a:xfrm>
              <a:custGeom>
                <a:avLst/>
                <a:gdLst>
                  <a:gd name="T0" fmla="*/ 9 w 49"/>
                  <a:gd name="T1" fmla="*/ 1 h 23"/>
                  <a:gd name="T2" fmla="*/ 24 w 49"/>
                  <a:gd name="T3" fmla="*/ 8 h 23"/>
                  <a:gd name="T4" fmla="*/ 31 w 49"/>
                  <a:gd name="T5" fmla="*/ 7 h 23"/>
                  <a:gd name="T6" fmla="*/ 44 w 49"/>
                  <a:gd name="T7" fmla="*/ 17 h 23"/>
                  <a:gd name="T8" fmla="*/ 37 w 49"/>
                  <a:gd name="T9" fmla="*/ 17 h 23"/>
                  <a:gd name="T10" fmla="*/ 13 w 49"/>
                  <a:gd name="T11" fmla="*/ 10 h 23"/>
                  <a:gd name="T12" fmla="*/ 9 w 49"/>
                  <a:gd name="T13" fmla="*/ 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" h="23">
                    <a:moveTo>
                      <a:pt x="9" y="1"/>
                    </a:moveTo>
                    <a:cubicBezTo>
                      <a:pt x="9" y="1"/>
                      <a:pt x="20" y="7"/>
                      <a:pt x="24" y="8"/>
                    </a:cubicBezTo>
                    <a:cubicBezTo>
                      <a:pt x="28" y="9"/>
                      <a:pt x="31" y="9"/>
                      <a:pt x="31" y="7"/>
                    </a:cubicBezTo>
                    <a:cubicBezTo>
                      <a:pt x="31" y="4"/>
                      <a:pt x="40" y="11"/>
                      <a:pt x="44" y="17"/>
                    </a:cubicBezTo>
                    <a:cubicBezTo>
                      <a:pt x="49" y="23"/>
                      <a:pt x="44" y="21"/>
                      <a:pt x="37" y="17"/>
                    </a:cubicBezTo>
                    <a:cubicBezTo>
                      <a:pt x="30" y="13"/>
                      <a:pt x="20" y="15"/>
                      <a:pt x="13" y="10"/>
                    </a:cubicBezTo>
                    <a:cubicBezTo>
                      <a:pt x="6" y="5"/>
                      <a:pt x="0" y="0"/>
                      <a:pt x="9" y="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82" name="Freeform 104">
                <a:extLst>
                  <a:ext uri="{FF2B5EF4-FFF2-40B4-BE49-F238E27FC236}">
                    <a16:creationId xmlns:a16="http://schemas.microsoft.com/office/drawing/2014/main" id="{E270DF9F-9A9A-4A02-8421-40E1540C2E2A}"/>
                  </a:ext>
                </a:extLst>
              </p:cNvPr>
              <p:cNvSpPr>
                <a:spLocks/>
              </p:cNvSpPr>
              <p:nvPr/>
            </p:nvSpPr>
            <p:spPr bwMode="auto">
              <a:xfrm rot="18643239">
                <a:off x="3555600" y="1040771"/>
                <a:ext cx="87944" cy="175885"/>
              </a:xfrm>
              <a:custGeom>
                <a:avLst/>
                <a:gdLst>
                  <a:gd name="T0" fmla="*/ 12 w 30"/>
                  <a:gd name="T1" fmla="*/ 25 h 60"/>
                  <a:gd name="T2" fmla="*/ 20 w 30"/>
                  <a:gd name="T3" fmla="*/ 19 h 60"/>
                  <a:gd name="T4" fmla="*/ 22 w 30"/>
                  <a:gd name="T5" fmla="*/ 4 h 60"/>
                  <a:gd name="T6" fmla="*/ 24 w 30"/>
                  <a:gd name="T7" fmla="*/ 26 h 60"/>
                  <a:gd name="T8" fmla="*/ 21 w 30"/>
                  <a:gd name="T9" fmla="*/ 37 h 60"/>
                  <a:gd name="T10" fmla="*/ 14 w 30"/>
                  <a:gd name="T11" fmla="*/ 48 h 60"/>
                  <a:gd name="T12" fmla="*/ 8 w 30"/>
                  <a:gd name="T13" fmla="*/ 35 h 60"/>
                  <a:gd name="T14" fmla="*/ 12 w 30"/>
                  <a:gd name="T15" fmla="*/ 25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60">
                    <a:moveTo>
                      <a:pt x="12" y="25"/>
                    </a:moveTo>
                    <a:cubicBezTo>
                      <a:pt x="12" y="25"/>
                      <a:pt x="17" y="24"/>
                      <a:pt x="20" y="19"/>
                    </a:cubicBezTo>
                    <a:cubicBezTo>
                      <a:pt x="24" y="14"/>
                      <a:pt x="22" y="8"/>
                      <a:pt x="22" y="4"/>
                    </a:cubicBezTo>
                    <a:cubicBezTo>
                      <a:pt x="21" y="0"/>
                      <a:pt x="30" y="16"/>
                      <a:pt x="24" y="26"/>
                    </a:cubicBezTo>
                    <a:cubicBezTo>
                      <a:pt x="24" y="26"/>
                      <a:pt x="21" y="34"/>
                      <a:pt x="21" y="37"/>
                    </a:cubicBezTo>
                    <a:cubicBezTo>
                      <a:pt x="21" y="40"/>
                      <a:pt x="20" y="46"/>
                      <a:pt x="14" y="48"/>
                    </a:cubicBezTo>
                    <a:cubicBezTo>
                      <a:pt x="8" y="50"/>
                      <a:pt x="0" y="60"/>
                      <a:pt x="8" y="35"/>
                    </a:cubicBezTo>
                    <a:lnTo>
                      <a:pt x="12" y="25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  <p:sp>
          <p:nvSpPr>
            <p:cNvPr id="510" name="AutoShape 25">
              <a:extLst>
                <a:ext uri="{FF2B5EF4-FFF2-40B4-BE49-F238E27FC236}">
                  <a16:creationId xmlns:a16="http://schemas.microsoft.com/office/drawing/2014/main" id="{9CDC6BBB-3E62-4F7F-B15C-C52BD5C2C12E}"/>
                </a:ext>
              </a:extLst>
            </p:cNvPr>
            <p:cNvSpPr>
              <a:spLocks noChangeArrowheads="1"/>
            </p:cNvSpPr>
            <p:nvPr/>
          </p:nvSpPr>
          <p:spPr bwMode="gray">
            <a:xfrm rot="186187" flipH="1">
              <a:off x="2537748" y="3836479"/>
              <a:ext cx="158585" cy="327740"/>
            </a:xfrm>
            <a:custGeom>
              <a:avLst/>
              <a:gdLst>
                <a:gd name="T0" fmla="*/ 794460491 w 792"/>
                <a:gd name="T1" fmla="*/ 729941208 h 2536"/>
                <a:gd name="T2" fmla="*/ 794460491 w 792"/>
                <a:gd name="T3" fmla="*/ 729941208 h 2536"/>
                <a:gd name="T4" fmla="*/ 794460491 w 792"/>
                <a:gd name="T5" fmla="*/ 729941208 h 2536"/>
                <a:gd name="T6" fmla="*/ 794460491 w 792"/>
                <a:gd name="T7" fmla="*/ 729941208 h 2536"/>
                <a:gd name="T8" fmla="*/ 794460491 w 792"/>
                <a:gd name="T9" fmla="*/ 729941208 h 2536"/>
                <a:gd name="T10" fmla="*/ 794460491 w 792"/>
                <a:gd name="T11" fmla="*/ 729941208 h 2536"/>
                <a:gd name="T12" fmla="*/ 794460491 w 792"/>
                <a:gd name="T13" fmla="*/ 729941208 h 2536"/>
                <a:gd name="T14" fmla="*/ 794460491 w 792"/>
                <a:gd name="T15" fmla="*/ 729941208 h 2536"/>
                <a:gd name="T16" fmla="*/ 794460491 w 792"/>
                <a:gd name="T17" fmla="*/ 729941208 h 2536"/>
                <a:gd name="T18" fmla="*/ 794460491 w 792"/>
                <a:gd name="T19" fmla="*/ 729941208 h 2536"/>
                <a:gd name="T20" fmla="*/ 794460491 w 792"/>
                <a:gd name="T21" fmla="*/ 729941208 h 2536"/>
                <a:gd name="T22" fmla="*/ 794460491 w 792"/>
                <a:gd name="T23" fmla="*/ 729941208 h 2536"/>
                <a:gd name="T24" fmla="*/ 794460491 w 792"/>
                <a:gd name="T25" fmla="*/ 729941208 h 2536"/>
                <a:gd name="T26" fmla="*/ 794460491 w 792"/>
                <a:gd name="T27" fmla="*/ 729941208 h 2536"/>
                <a:gd name="T28" fmla="*/ 0 w 792"/>
                <a:gd name="T29" fmla="*/ 729941208 h 2536"/>
                <a:gd name="T30" fmla="*/ 794460491 w 792"/>
                <a:gd name="T31" fmla="*/ 729941208 h 2536"/>
                <a:gd name="T32" fmla="*/ 794460491 w 792"/>
                <a:gd name="T33" fmla="*/ 729941208 h 2536"/>
                <a:gd name="T34" fmla="*/ 794460491 w 792"/>
                <a:gd name="T35" fmla="*/ 729941208 h 2536"/>
                <a:gd name="T36" fmla="*/ 794460491 w 792"/>
                <a:gd name="T37" fmla="*/ 729941208 h 2536"/>
                <a:gd name="T38" fmla="*/ 794460491 w 792"/>
                <a:gd name="T39" fmla="*/ 729941208 h 2536"/>
                <a:gd name="T40" fmla="*/ 794460491 w 792"/>
                <a:gd name="T41" fmla="*/ 729941208 h 2536"/>
                <a:gd name="T42" fmla="*/ 794460491 w 792"/>
                <a:gd name="T43" fmla="*/ 729941208 h 2536"/>
                <a:gd name="T44" fmla="*/ 794460491 w 792"/>
                <a:gd name="T45" fmla="*/ 729941208 h 2536"/>
                <a:gd name="T46" fmla="*/ 794460491 w 792"/>
                <a:gd name="T47" fmla="*/ 729941208 h 2536"/>
                <a:gd name="T48" fmla="*/ 794460491 w 792"/>
                <a:gd name="T49" fmla="*/ 729941208 h 2536"/>
                <a:gd name="T50" fmla="*/ 794460491 w 792"/>
                <a:gd name="T51" fmla="*/ 729941208 h 2536"/>
                <a:gd name="T52" fmla="*/ 794460491 w 792"/>
                <a:gd name="T53" fmla="*/ 729941208 h 2536"/>
                <a:gd name="T54" fmla="*/ 794460491 w 792"/>
                <a:gd name="T55" fmla="*/ 729941208 h 2536"/>
                <a:gd name="T56" fmla="*/ 794460491 w 792"/>
                <a:gd name="T57" fmla="*/ 729941208 h 2536"/>
                <a:gd name="T58" fmla="*/ 794460491 w 792"/>
                <a:gd name="T59" fmla="*/ 729941208 h 2536"/>
                <a:gd name="T60" fmla="*/ 794460491 w 792"/>
                <a:gd name="T61" fmla="*/ 729941208 h 2536"/>
                <a:gd name="T62" fmla="*/ 794460491 w 792"/>
                <a:gd name="T63" fmla="*/ 729941208 h 2536"/>
                <a:gd name="T64" fmla="*/ 794460491 w 792"/>
                <a:gd name="T65" fmla="*/ 729941208 h 2536"/>
                <a:gd name="T66" fmla="*/ 794460491 w 792"/>
                <a:gd name="T67" fmla="*/ 729941208 h 2536"/>
                <a:gd name="T68" fmla="*/ 794460491 w 792"/>
                <a:gd name="T69" fmla="*/ 729941208 h 2536"/>
                <a:gd name="T70" fmla="*/ 794460491 w 792"/>
                <a:gd name="T71" fmla="*/ 729941208 h 2536"/>
                <a:gd name="T72" fmla="*/ 794460491 w 792"/>
                <a:gd name="T73" fmla="*/ 729941208 h 2536"/>
                <a:gd name="T74" fmla="*/ 794460491 w 792"/>
                <a:gd name="T75" fmla="*/ 729941208 h 2536"/>
                <a:gd name="T76" fmla="*/ 794460491 w 792"/>
                <a:gd name="T77" fmla="*/ 729941208 h 2536"/>
                <a:gd name="T78" fmla="*/ 794460491 w 792"/>
                <a:gd name="T79" fmla="*/ 729941208 h 2536"/>
                <a:gd name="T80" fmla="*/ 794460491 w 792"/>
                <a:gd name="T81" fmla="*/ 729941208 h 2536"/>
                <a:gd name="T82" fmla="*/ 794460491 w 792"/>
                <a:gd name="T83" fmla="*/ 729941208 h 2536"/>
                <a:gd name="T84" fmla="*/ 794460491 w 792"/>
                <a:gd name="T85" fmla="*/ 729941208 h 2536"/>
                <a:gd name="T86" fmla="*/ 794460491 w 792"/>
                <a:gd name="T87" fmla="*/ 729941208 h 2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792"/>
                <a:gd name="T133" fmla="*/ 0 h 2536"/>
                <a:gd name="T134" fmla="*/ 792 w 792"/>
                <a:gd name="T135" fmla="*/ 2536 h 2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792" h="2536">
                  <a:moveTo>
                    <a:pt x="752" y="900"/>
                  </a:moveTo>
                  <a:cubicBezTo>
                    <a:pt x="752" y="888"/>
                    <a:pt x="744" y="880"/>
                    <a:pt x="740" y="872"/>
                  </a:cubicBezTo>
                  <a:cubicBezTo>
                    <a:pt x="720" y="760"/>
                    <a:pt x="736" y="656"/>
                    <a:pt x="724" y="548"/>
                  </a:cubicBezTo>
                  <a:cubicBezTo>
                    <a:pt x="724" y="524"/>
                    <a:pt x="724" y="500"/>
                    <a:pt x="716" y="480"/>
                  </a:cubicBezTo>
                  <a:cubicBezTo>
                    <a:pt x="712" y="472"/>
                    <a:pt x="704" y="464"/>
                    <a:pt x="696" y="456"/>
                  </a:cubicBezTo>
                  <a:cubicBezTo>
                    <a:pt x="688" y="452"/>
                    <a:pt x="668" y="452"/>
                    <a:pt x="672" y="444"/>
                  </a:cubicBezTo>
                  <a:cubicBezTo>
                    <a:pt x="688" y="332"/>
                    <a:pt x="664" y="224"/>
                    <a:pt x="656" y="116"/>
                  </a:cubicBezTo>
                  <a:cubicBezTo>
                    <a:pt x="652" y="56"/>
                    <a:pt x="600" y="0"/>
                    <a:pt x="532" y="8"/>
                  </a:cubicBezTo>
                  <a:cubicBezTo>
                    <a:pt x="512" y="12"/>
                    <a:pt x="492" y="16"/>
                    <a:pt x="472" y="32"/>
                  </a:cubicBezTo>
                  <a:cubicBezTo>
                    <a:pt x="440" y="60"/>
                    <a:pt x="416" y="88"/>
                    <a:pt x="400" y="124"/>
                  </a:cubicBezTo>
                  <a:cubicBezTo>
                    <a:pt x="392" y="148"/>
                    <a:pt x="380" y="164"/>
                    <a:pt x="372" y="188"/>
                  </a:cubicBezTo>
                  <a:cubicBezTo>
                    <a:pt x="364" y="212"/>
                    <a:pt x="364" y="232"/>
                    <a:pt x="360" y="256"/>
                  </a:cubicBezTo>
                  <a:cubicBezTo>
                    <a:pt x="356" y="272"/>
                    <a:pt x="364" y="284"/>
                    <a:pt x="364" y="296"/>
                  </a:cubicBezTo>
                  <a:cubicBezTo>
                    <a:pt x="364" y="352"/>
                    <a:pt x="308" y="388"/>
                    <a:pt x="264" y="416"/>
                  </a:cubicBezTo>
                  <a:cubicBezTo>
                    <a:pt x="240" y="432"/>
                    <a:pt x="204" y="428"/>
                    <a:pt x="184" y="452"/>
                  </a:cubicBezTo>
                  <a:cubicBezTo>
                    <a:pt x="144" y="496"/>
                    <a:pt x="160" y="556"/>
                    <a:pt x="144" y="608"/>
                  </a:cubicBezTo>
                  <a:cubicBezTo>
                    <a:pt x="144" y="612"/>
                    <a:pt x="156" y="616"/>
                    <a:pt x="152" y="628"/>
                  </a:cubicBezTo>
                  <a:cubicBezTo>
                    <a:pt x="148" y="696"/>
                    <a:pt x="156" y="764"/>
                    <a:pt x="140" y="832"/>
                  </a:cubicBezTo>
                  <a:cubicBezTo>
                    <a:pt x="128" y="876"/>
                    <a:pt x="120" y="916"/>
                    <a:pt x="116" y="960"/>
                  </a:cubicBezTo>
                  <a:cubicBezTo>
                    <a:pt x="112" y="1024"/>
                    <a:pt x="116" y="1088"/>
                    <a:pt x="116" y="1152"/>
                  </a:cubicBezTo>
                  <a:cubicBezTo>
                    <a:pt x="116" y="1212"/>
                    <a:pt x="108" y="1272"/>
                    <a:pt x="96" y="1336"/>
                  </a:cubicBezTo>
                  <a:cubicBezTo>
                    <a:pt x="92" y="1360"/>
                    <a:pt x="104" y="1384"/>
                    <a:pt x="120" y="1404"/>
                  </a:cubicBezTo>
                  <a:cubicBezTo>
                    <a:pt x="136" y="1424"/>
                    <a:pt x="164" y="1432"/>
                    <a:pt x="188" y="1436"/>
                  </a:cubicBezTo>
                  <a:cubicBezTo>
                    <a:pt x="192" y="1436"/>
                    <a:pt x="196" y="1440"/>
                    <a:pt x="196" y="1444"/>
                  </a:cubicBezTo>
                  <a:cubicBezTo>
                    <a:pt x="192" y="1540"/>
                    <a:pt x="192" y="1636"/>
                    <a:pt x="180" y="1736"/>
                  </a:cubicBezTo>
                  <a:cubicBezTo>
                    <a:pt x="180" y="1744"/>
                    <a:pt x="188" y="1748"/>
                    <a:pt x="188" y="1752"/>
                  </a:cubicBezTo>
                  <a:cubicBezTo>
                    <a:pt x="188" y="1820"/>
                    <a:pt x="152" y="1884"/>
                    <a:pt x="148" y="1956"/>
                  </a:cubicBezTo>
                  <a:cubicBezTo>
                    <a:pt x="144" y="2056"/>
                    <a:pt x="156" y="2152"/>
                    <a:pt x="148" y="2252"/>
                  </a:cubicBezTo>
                  <a:cubicBezTo>
                    <a:pt x="148" y="2316"/>
                    <a:pt x="120" y="2376"/>
                    <a:pt x="88" y="2432"/>
                  </a:cubicBezTo>
                  <a:cubicBezTo>
                    <a:pt x="64" y="2468"/>
                    <a:pt x="24" y="2484"/>
                    <a:pt x="0" y="2516"/>
                  </a:cubicBezTo>
                  <a:cubicBezTo>
                    <a:pt x="52" y="2512"/>
                    <a:pt x="104" y="2516"/>
                    <a:pt x="152" y="2492"/>
                  </a:cubicBezTo>
                  <a:cubicBezTo>
                    <a:pt x="148" y="2460"/>
                    <a:pt x="180" y="2424"/>
                    <a:pt x="208" y="2424"/>
                  </a:cubicBezTo>
                  <a:cubicBezTo>
                    <a:pt x="224" y="2428"/>
                    <a:pt x="204" y="2460"/>
                    <a:pt x="220" y="2476"/>
                  </a:cubicBezTo>
                  <a:cubicBezTo>
                    <a:pt x="220" y="2448"/>
                    <a:pt x="224" y="2420"/>
                    <a:pt x="244" y="2396"/>
                  </a:cubicBezTo>
                  <a:cubicBezTo>
                    <a:pt x="268" y="2372"/>
                    <a:pt x="248" y="2336"/>
                    <a:pt x="224" y="2312"/>
                  </a:cubicBezTo>
                  <a:cubicBezTo>
                    <a:pt x="224" y="2308"/>
                    <a:pt x="221" y="2300"/>
                    <a:pt x="220" y="2292"/>
                  </a:cubicBezTo>
                  <a:cubicBezTo>
                    <a:pt x="216" y="2244"/>
                    <a:pt x="224" y="2196"/>
                    <a:pt x="236" y="2144"/>
                  </a:cubicBezTo>
                  <a:cubicBezTo>
                    <a:pt x="244" y="2084"/>
                    <a:pt x="264" y="2032"/>
                    <a:pt x="280" y="1972"/>
                  </a:cubicBezTo>
                  <a:cubicBezTo>
                    <a:pt x="296" y="1916"/>
                    <a:pt x="284" y="1856"/>
                    <a:pt x="304" y="1800"/>
                  </a:cubicBezTo>
                  <a:cubicBezTo>
                    <a:pt x="308" y="1784"/>
                    <a:pt x="312" y="1760"/>
                    <a:pt x="328" y="1752"/>
                  </a:cubicBezTo>
                  <a:cubicBezTo>
                    <a:pt x="352" y="1740"/>
                    <a:pt x="380" y="1740"/>
                    <a:pt x="404" y="1744"/>
                  </a:cubicBezTo>
                  <a:cubicBezTo>
                    <a:pt x="432" y="1744"/>
                    <a:pt x="460" y="1748"/>
                    <a:pt x="488" y="1752"/>
                  </a:cubicBezTo>
                  <a:cubicBezTo>
                    <a:pt x="500" y="1756"/>
                    <a:pt x="504" y="1768"/>
                    <a:pt x="508" y="1780"/>
                  </a:cubicBezTo>
                  <a:cubicBezTo>
                    <a:pt x="512" y="1840"/>
                    <a:pt x="496" y="1896"/>
                    <a:pt x="488" y="1956"/>
                  </a:cubicBezTo>
                  <a:cubicBezTo>
                    <a:pt x="484" y="2024"/>
                    <a:pt x="496" y="2092"/>
                    <a:pt x="480" y="2164"/>
                  </a:cubicBezTo>
                  <a:cubicBezTo>
                    <a:pt x="476" y="2192"/>
                    <a:pt x="476" y="2220"/>
                    <a:pt x="468" y="2248"/>
                  </a:cubicBezTo>
                  <a:cubicBezTo>
                    <a:pt x="460" y="2272"/>
                    <a:pt x="448" y="2292"/>
                    <a:pt x="444" y="2320"/>
                  </a:cubicBezTo>
                  <a:cubicBezTo>
                    <a:pt x="440" y="2328"/>
                    <a:pt x="428" y="2328"/>
                    <a:pt x="428" y="2340"/>
                  </a:cubicBezTo>
                  <a:cubicBezTo>
                    <a:pt x="424" y="2352"/>
                    <a:pt x="420" y="2364"/>
                    <a:pt x="420" y="2376"/>
                  </a:cubicBezTo>
                  <a:cubicBezTo>
                    <a:pt x="424" y="2392"/>
                    <a:pt x="440" y="2404"/>
                    <a:pt x="444" y="2416"/>
                  </a:cubicBezTo>
                  <a:cubicBezTo>
                    <a:pt x="452" y="2432"/>
                    <a:pt x="452" y="2452"/>
                    <a:pt x="448" y="2468"/>
                  </a:cubicBezTo>
                  <a:cubicBezTo>
                    <a:pt x="444" y="2476"/>
                    <a:pt x="436" y="2488"/>
                    <a:pt x="444" y="2496"/>
                  </a:cubicBezTo>
                  <a:cubicBezTo>
                    <a:pt x="480" y="2524"/>
                    <a:pt x="564" y="2536"/>
                    <a:pt x="552" y="2472"/>
                  </a:cubicBezTo>
                  <a:cubicBezTo>
                    <a:pt x="540" y="2432"/>
                    <a:pt x="512" y="2392"/>
                    <a:pt x="516" y="2348"/>
                  </a:cubicBezTo>
                  <a:cubicBezTo>
                    <a:pt x="516" y="2312"/>
                    <a:pt x="520" y="2276"/>
                    <a:pt x="532" y="2240"/>
                  </a:cubicBezTo>
                  <a:cubicBezTo>
                    <a:pt x="596" y="2088"/>
                    <a:pt x="640" y="1932"/>
                    <a:pt x="624" y="1768"/>
                  </a:cubicBezTo>
                  <a:cubicBezTo>
                    <a:pt x="652" y="1744"/>
                    <a:pt x="696" y="1748"/>
                    <a:pt x="732" y="1748"/>
                  </a:cubicBezTo>
                  <a:cubicBezTo>
                    <a:pt x="736" y="1640"/>
                    <a:pt x="708" y="1536"/>
                    <a:pt x="724" y="1428"/>
                  </a:cubicBezTo>
                  <a:cubicBezTo>
                    <a:pt x="728" y="1408"/>
                    <a:pt x="756" y="1416"/>
                    <a:pt x="768" y="1404"/>
                  </a:cubicBezTo>
                  <a:cubicBezTo>
                    <a:pt x="784" y="1392"/>
                    <a:pt x="792" y="1368"/>
                    <a:pt x="792" y="1356"/>
                  </a:cubicBezTo>
                  <a:cubicBezTo>
                    <a:pt x="740" y="1204"/>
                    <a:pt x="784" y="1060"/>
                    <a:pt x="752" y="900"/>
                  </a:cubicBezTo>
                  <a:close/>
                  <a:moveTo>
                    <a:pt x="208" y="1272"/>
                  </a:moveTo>
                  <a:cubicBezTo>
                    <a:pt x="200" y="1316"/>
                    <a:pt x="200" y="1364"/>
                    <a:pt x="200" y="1408"/>
                  </a:cubicBezTo>
                  <a:cubicBezTo>
                    <a:pt x="200" y="1416"/>
                    <a:pt x="204" y="1432"/>
                    <a:pt x="192" y="1428"/>
                  </a:cubicBezTo>
                  <a:cubicBezTo>
                    <a:pt x="176" y="1428"/>
                    <a:pt x="172" y="1420"/>
                    <a:pt x="160" y="1408"/>
                  </a:cubicBezTo>
                  <a:cubicBezTo>
                    <a:pt x="160" y="1404"/>
                    <a:pt x="160" y="1400"/>
                    <a:pt x="160" y="1396"/>
                  </a:cubicBezTo>
                  <a:cubicBezTo>
                    <a:pt x="148" y="1400"/>
                    <a:pt x="140" y="1388"/>
                    <a:pt x="136" y="1376"/>
                  </a:cubicBezTo>
                  <a:cubicBezTo>
                    <a:pt x="128" y="1356"/>
                    <a:pt x="132" y="1324"/>
                    <a:pt x="148" y="1324"/>
                  </a:cubicBezTo>
                  <a:cubicBezTo>
                    <a:pt x="172" y="1320"/>
                    <a:pt x="164" y="1364"/>
                    <a:pt x="172" y="1384"/>
                  </a:cubicBezTo>
                  <a:cubicBezTo>
                    <a:pt x="176" y="1388"/>
                    <a:pt x="180" y="1388"/>
                    <a:pt x="184" y="1388"/>
                  </a:cubicBezTo>
                  <a:cubicBezTo>
                    <a:pt x="180" y="1352"/>
                    <a:pt x="184" y="1312"/>
                    <a:pt x="176" y="1276"/>
                  </a:cubicBezTo>
                  <a:cubicBezTo>
                    <a:pt x="172" y="1252"/>
                    <a:pt x="152" y="1236"/>
                    <a:pt x="156" y="1208"/>
                  </a:cubicBezTo>
                  <a:cubicBezTo>
                    <a:pt x="180" y="1060"/>
                    <a:pt x="224" y="928"/>
                    <a:pt x="232" y="780"/>
                  </a:cubicBezTo>
                  <a:cubicBezTo>
                    <a:pt x="232" y="756"/>
                    <a:pt x="224" y="724"/>
                    <a:pt x="248" y="712"/>
                  </a:cubicBezTo>
                  <a:cubicBezTo>
                    <a:pt x="264" y="704"/>
                    <a:pt x="257" y="732"/>
                    <a:pt x="260" y="744"/>
                  </a:cubicBezTo>
                  <a:cubicBezTo>
                    <a:pt x="304" y="928"/>
                    <a:pt x="224" y="1092"/>
                    <a:pt x="208" y="1272"/>
                  </a:cubicBezTo>
                  <a:close/>
                  <a:moveTo>
                    <a:pt x="656" y="876"/>
                  </a:moveTo>
                  <a:cubicBezTo>
                    <a:pt x="656" y="888"/>
                    <a:pt x="641" y="882"/>
                    <a:pt x="632" y="876"/>
                  </a:cubicBezTo>
                  <a:cubicBezTo>
                    <a:pt x="620" y="868"/>
                    <a:pt x="620" y="852"/>
                    <a:pt x="624" y="844"/>
                  </a:cubicBezTo>
                  <a:cubicBezTo>
                    <a:pt x="632" y="824"/>
                    <a:pt x="624" y="800"/>
                    <a:pt x="616" y="780"/>
                  </a:cubicBezTo>
                  <a:cubicBezTo>
                    <a:pt x="608" y="764"/>
                    <a:pt x="608" y="744"/>
                    <a:pt x="624" y="728"/>
                  </a:cubicBezTo>
                  <a:cubicBezTo>
                    <a:pt x="628" y="728"/>
                    <a:pt x="632" y="728"/>
                    <a:pt x="636" y="728"/>
                  </a:cubicBezTo>
                  <a:cubicBezTo>
                    <a:pt x="664" y="776"/>
                    <a:pt x="660" y="828"/>
                    <a:pt x="656" y="876"/>
                  </a:cubicBezTo>
                  <a:close/>
                  <a:moveTo>
                    <a:pt x="728" y="1400"/>
                  </a:moveTo>
                  <a:cubicBezTo>
                    <a:pt x="724" y="1400"/>
                    <a:pt x="716" y="1392"/>
                    <a:pt x="720" y="1384"/>
                  </a:cubicBezTo>
                  <a:cubicBezTo>
                    <a:pt x="728" y="1364"/>
                    <a:pt x="716" y="1332"/>
                    <a:pt x="748" y="1332"/>
                  </a:cubicBezTo>
                  <a:cubicBezTo>
                    <a:pt x="752" y="1332"/>
                    <a:pt x="752" y="1341"/>
                    <a:pt x="756" y="1348"/>
                  </a:cubicBezTo>
                  <a:cubicBezTo>
                    <a:pt x="768" y="1372"/>
                    <a:pt x="756" y="1400"/>
                    <a:pt x="728" y="1400"/>
                  </a:cubicBezTo>
                  <a:close/>
                </a:path>
              </a:pathLst>
            </a:custGeom>
            <a:solidFill>
              <a:schemeClr val="tx1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  <p:txBody>
            <a:bodyPr lIns="428085" tIns="214043" rIns="428085" bIns="214043"/>
            <a:lstStyle/>
            <a:p>
              <a:pPr defTabSz="4280752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6000" kern="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1" name="AutoShape 22">
              <a:extLst>
                <a:ext uri="{FF2B5EF4-FFF2-40B4-BE49-F238E27FC236}">
                  <a16:creationId xmlns:a16="http://schemas.microsoft.com/office/drawing/2014/main" id="{F533460A-CE6A-42B8-8B0C-662990E411D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642513" y="3820290"/>
              <a:ext cx="140097" cy="340332"/>
            </a:xfrm>
            <a:custGeom>
              <a:avLst/>
              <a:gdLst>
                <a:gd name="T0" fmla="*/ 808464432 w 680"/>
                <a:gd name="T1" fmla="*/ 813928491 h 2335"/>
                <a:gd name="T2" fmla="*/ 808464432 w 680"/>
                <a:gd name="T3" fmla="*/ 813928491 h 2335"/>
                <a:gd name="T4" fmla="*/ 808464432 w 680"/>
                <a:gd name="T5" fmla="*/ 813928491 h 2335"/>
                <a:gd name="T6" fmla="*/ 808464432 w 680"/>
                <a:gd name="T7" fmla="*/ 813928491 h 2335"/>
                <a:gd name="T8" fmla="*/ 808464432 w 680"/>
                <a:gd name="T9" fmla="*/ 813928491 h 2335"/>
                <a:gd name="T10" fmla="*/ 808464432 w 680"/>
                <a:gd name="T11" fmla="*/ 813928491 h 2335"/>
                <a:gd name="T12" fmla="*/ 808464432 w 680"/>
                <a:gd name="T13" fmla="*/ 813928491 h 2335"/>
                <a:gd name="T14" fmla="*/ 808464432 w 680"/>
                <a:gd name="T15" fmla="*/ 813928491 h 2335"/>
                <a:gd name="T16" fmla="*/ 808464432 w 680"/>
                <a:gd name="T17" fmla="*/ 813928491 h 2335"/>
                <a:gd name="T18" fmla="*/ 808464432 w 680"/>
                <a:gd name="T19" fmla="*/ 813928491 h 2335"/>
                <a:gd name="T20" fmla="*/ 808464432 w 680"/>
                <a:gd name="T21" fmla="*/ 813928491 h 2335"/>
                <a:gd name="T22" fmla="*/ 808464432 w 680"/>
                <a:gd name="T23" fmla="*/ 813928491 h 2335"/>
                <a:gd name="T24" fmla="*/ 808464432 w 680"/>
                <a:gd name="T25" fmla="*/ 813928491 h 2335"/>
                <a:gd name="T26" fmla="*/ 808464432 w 680"/>
                <a:gd name="T27" fmla="*/ 813928491 h 2335"/>
                <a:gd name="T28" fmla="*/ 808464432 w 680"/>
                <a:gd name="T29" fmla="*/ 813928491 h 2335"/>
                <a:gd name="T30" fmla="*/ 808464432 w 680"/>
                <a:gd name="T31" fmla="*/ 813928491 h 2335"/>
                <a:gd name="T32" fmla="*/ 808464432 w 680"/>
                <a:gd name="T33" fmla="*/ 813928491 h 2335"/>
                <a:gd name="T34" fmla="*/ 808464432 w 680"/>
                <a:gd name="T35" fmla="*/ 813928491 h 2335"/>
                <a:gd name="T36" fmla="*/ 808464432 w 680"/>
                <a:gd name="T37" fmla="*/ 813928491 h 2335"/>
                <a:gd name="T38" fmla="*/ 808464432 w 680"/>
                <a:gd name="T39" fmla="*/ 813928491 h 2335"/>
                <a:gd name="T40" fmla="*/ 808464432 w 680"/>
                <a:gd name="T41" fmla="*/ 813928491 h 2335"/>
                <a:gd name="T42" fmla="*/ 808464432 w 680"/>
                <a:gd name="T43" fmla="*/ 813928491 h 2335"/>
                <a:gd name="T44" fmla="*/ 808464432 w 680"/>
                <a:gd name="T45" fmla="*/ 813928491 h 2335"/>
                <a:gd name="T46" fmla="*/ 808464432 w 680"/>
                <a:gd name="T47" fmla="*/ 813928491 h 2335"/>
                <a:gd name="T48" fmla="*/ 808464432 w 680"/>
                <a:gd name="T49" fmla="*/ 813928491 h 2335"/>
                <a:gd name="T50" fmla="*/ 808464432 w 680"/>
                <a:gd name="T51" fmla="*/ 813928491 h 2335"/>
                <a:gd name="T52" fmla="*/ 808464432 w 680"/>
                <a:gd name="T53" fmla="*/ 813928491 h 2335"/>
                <a:gd name="T54" fmla="*/ 808464432 w 680"/>
                <a:gd name="T55" fmla="*/ 813928491 h 2335"/>
                <a:gd name="T56" fmla="*/ 808464432 w 680"/>
                <a:gd name="T57" fmla="*/ 813928491 h 2335"/>
                <a:gd name="T58" fmla="*/ 808464432 w 680"/>
                <a:gd name="T59" fmla="*/ 813928491 h 2335"/>
                <a:gd name="T60" fmla="*/ 808464432 w 680"/>
                <a:gd name="T61" fmla="*/ 813928491 h 2335"/>
                <a:gd name="T62" fmla="*/ 808464432 w 680"/>
                <a:gd name="T63" fmla="*/ 813928491 h 2335"/>
                <a:gd name="T64" fmla="*/ 808464432 w 680"/>
                <a:gd name="T65" fmla="*/ 813928491 h 2335"/>
                <a:gd name="T66" fmla="*/ 808464432 w 680"/>
                <a:gd name="T67" fmla="*/ 813928491 h 2335"/>
                <a:gd name="T68" fmla="*/ 808464432 w 680"/>
                <a:gd name="T69" fmla="*/ 813928491 h 2335"/>
                <a:gd name="T70" fmla="*/ 808464432 w 680"/>
                <a:gd name="T71" fmla="*/ 813928491 h 2335"/>
                <a:gd name="T72" fmla="*/ 808464432 w 680"/>
                <a:gd name="T73" fmla="*/ 813928491 h 2335"/>
                <a:gd name="T74" fmla="*/ 808464432 w 680"/>
                <a:gd name="T75" fmla="*/ 813928491 h 2335"/>
                <a:gd name="T76" fmla="*/ 808464432 w 680"/>
                <a:gd name="T77" fmla="*/ 813928491 h 2335"/>
                <a:gd name="T78" fmla="*/ 808464432 w 680"/>
                <a:gd name="T79" fmla="*/ 813928491 h 2335"/>
                <a:gd name="T80" fmla="*/ 808464432 w 680"/>
                <a:gd name="T81" fmla="*/ 813928491 h 2335"/>
                <a:gd name="T82" fmla="*/ 808464432 w 680"/>
                <a:gd name="T83" fmla="*/ 813928491 h 2335"/>
                <a:gd name="T84" fmla="*/ 808464432 w 680"/>
                <a:gd name="T85" fmla="*/ 813928491 h 2335"/>
                <a:gd name="T86" fmla="*/ 808464432 w 680"/>
                <a:gd name="T87" fmla="*/ 813928491 h 2335"/>
                <a:gd name="T88" fmla="*/ 808464432 w 680"/>
                <a:gd name="T89" fmla="*/ 813928491 h 2335"/>
                <a:gd name="T90" fmla="*/ 808464432 w 680"/>
                <a:gd name="T91" fmla="*/ 813928491 h 2335"/>
                <a:gd name="T92" fmla="*/ 808464432 w 680"/>
                <a:gd name="T93" fmla="*/ 813928491 h 2335"/>
                <a:gd name="T94" fmla="*/ 808464432 w 680"/>
                <a:gd name="T95" fmla="*/ 813928491 h 2335"/>
                <a:gd name="T96" fmla="*/ 808464432 w 680"/>
                <a:gd name="T97" fmla="*/ 813928491 h 2335"/>
                <a:gd name="T98" fmla="*/ 808464432 w 680"/>
                <a:gd name="T99" fmla="*/ 813928491 h 2335"/>
                <a:gd name="T100" fmla="*/ 808464432 w 680"/>
                <a:gd name="T101" fmla="*/ 813928491 h 2335"/>
                <a:gd name="T102" fmla="*/ 808464432 w 680"/>
                <a:gd name="T103" fmla="*/ 813928491 h 2335"/>
                <a:gd name="T104" fmla="*/ 808464432 w 680"/>
                <a:gd name="T105" fmla="*/ 813928491 h 2335"/>
                <a:gd name="T106" fmla="*/ 808464432 w 680"/>
                <a:gd name="T107" fmla="*/ 813928491 h 2335"/>
                <a:gd name="T108" fmla="*/ 808464432 w 680"/>
                <a:gd name="T109" fmla="*/ 813928491 h 2335"/>
                <a:gd name="T110" fmla="*/ 808464432 w 680"/>
                <a:gd name="T111" fmla="*/ 813928491 h 2335"/>
                <a:gd name="T112" fmla="*/ 808464432 w 680"/>
                <a:gd name="T113" fmla="*/ 813928491 h 2335"/>
                <a:gd name="T114" fmla="*/ 808464432 w 680"/>
                <a:gd name="T115" fmla="*/ 813928491 h 2335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80"/>
                <a:gd name="T175" fmla="*/ 0 h 2335"/>
                <a:gd name="T176" fmla="*/ 680 w 680"/>
                <a:gd name="T177" fmla="*/ 2335 h 2335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80" h="2335">
                  <a:moveTo>
                    <a:pt x="676" y="998"/>
                  </a:moveTo>
                  <a:cubicBezTo>
                    <a:pt x="670" y="976"/>
                    <a:pt x="677" y="952"/>
                    <a:pt x="674" y="929"/>
                  </a:cubicBezTo>
                  <a:cubicBezTo>
                    <a:pt x="673" y="919"/>
                    <a:pt x="670" y="909"/>
                    <a:pt x="668" y="898"/>
                  </a:cubicBezTo>
                  <a:cubicBezTo>
                    <a:pt x="666" y="885"/>
                    <a:pt x="667" y="872"/>
                    <a:pt x="667" y="859"/>
                  </a:cubicBezTo>
                  <a:cubicBezTo>
                    <a:pt x="666" y="834"/>
                    <a:pt x="662" y="810"/>
                    <a:pt x="662" y="785"/>
                  </a:cubicBezTo>
                  <a:cubicBezTo>
                    <a:pt x="663" y="759"/>
                    <a:pt x="664" y="732"/>
                    <a:pt x="662" y="706"/>
                  </a:cubicBezTo>
                  <a:cubicBezTo>
                    <a:pt x="657" y="647"/>
                    <a:pt x="645" y="590"/>
                    <a:pt x="632" y="533"/>
                  </a:cubicBezTo>
                  <a:cubicBezTo>
                    <a:pt x="628" y="513"/>
                    <a:pt x="623" y="492"/>
                    <a:pt x="618" y="472"/>
                  </a:cubicBezTo>
                  <a:cubicBezTo>
                    <a:pt x="613" y="453"/>
                    <a:pt x="607" y="436"/>
                    <a:pt x="592" y="423"/>
                  </a:cubicBezTo>
                  <a:cubicBezTo>
                    <a:pt x="572" y="405"/>
                    <a:pt x="547" y="403"/>
                    <a:pt x="524" y="392"/>
                  </a:cubicBezTo>
                  <a:cubicBezTo>
                    <a:pt x="506" y="384"/>
                    <a:pt x="489" y="373"/>
                    <a:pt x="471" y="364"/>
                  </a:cubicBezTo>
                  <a:cubicBezTo>
                    <a:pt x="463" y="361"/>
                    <a:pt x="455" y="357"/>
                    <a:pt x="449" y="351"/>
                  </a:cubicBezTo>
                  <a:cubicBezTo>
                    <a:pt x="443" y="344"/>
                    <a:pt x="438" y="342"/>
                    <a:pt x="430" y="339"/>
                  </a:cubicBezTo>
                  <a:cubicBezTo>
                    <a:pt x="420" y="336"/>
                    <a:pt x="415" y="332"/>
                    <a:pt x="415" y="323"/>
                  </a:cubicBezTo>
                  <a:cubicBezTo>
                    <a:pt x="415" y="314"/>
                    <a:pt x="415" y="304"/>
                    <a:pt x="414" y="294"/>
                  </a:cubicBezTo>
                  <a:cubicBezTo>
                    <a:pt x="413" y="285"/>
                    <a:pt x="412" y="279"/>
                    <a:pt x="419" y="272"/>
                  </a:cubicBezTo>
                  <a:cubicBezTo>
                    <a:pt x="426" y="263"/>
                    <a:pt x="428" y="252"/>
                    <a:pt x="429" y="241"/>
                  </a:cubicBezTo>
                  <a:cubicBezTo>
                    <a:pt x="430" y="234"/>
                    <a:pt x="431" y="227"/>
                    <a:pt x="431" y="220"/>
                  </a:cubicBezTo>
                  <a:cubicBezTo>
                    <a:pt x="431" y="214"/>
                    <a:pt x="431" y="215"/>
                    <a:pt x="436" y="216"/>
                  </a:cubicBezTo>
                  <a:cubicBezTo>
                    <a:pt x="450" y="219"/>
                    <a:pt x="451" y="211"/>
                    <a:pt x="456" y="200"/>
                  </a:cubicBezTo>
                  <a:cubicBezTo>
                    <a:pt x="461" y="190"/>
                    <a:pt x="474" y="134"/>
                    <a:pt x="449" y="140"/>
                  </a:cubicBezTo>
                  <a:cubicBezTo>
                    <a:pt x="446" y="141"/>
                    <a:pt x="449" y="130"/>
                    <a:pt x="449" y="128"/>
                  </a:cubicBezTo>
                  <a:cubicBezTo>
                    <a:pt x="450" y="121"/>
                    <a:pt x="453" y="114"/>
                    <a:pt x="451" y="106"/>
                  </a:cubicBezTo>
                  <a:cubicBezTo>
                    <a:pt x="448" y="95"/>
                    <a:pt x="452" y="86"/>
                    <a:pt x="450" y="76"/>
                  </a:cubicBezTo>
                  <a:cubicBezTo>
                    <a:pt x="449" y="66"/>
                    <a:pt x="442" y="57"/>
                    <a:pt x="438" y="48"/>
                  </a:cubicBezTo>
                  <a:cubicBezTo>
                    <a:pt x="435" y="43"/>
                    <a:pt x="435" y="38"/>
                    <a:pt x="429" y="35"/>
                  </a:cubicBezTo>
                  <a:cubicBezTo>
                    <a:pt x="423" y="32"/>
                    <a:pt x="421" y="28"/>
                    <a:pt x="416" y="24"/>
                  </a:cubicBezTo>
                  <a:cubicBezTo>
                    <a:pt x="408" y="17"/>
                    <a:pt x="397" y="5"/>
                    <a:pt x="386" y="7"/>
                  </a:cubicBezTo>
                  <a:cubicBezTo>
                    <a:pt x="381" y="9"/>
                    <a:pt x="376" y="5"/>
                    <a:pt x="371" y="3"/>
                  </a:cubicBezTo>
                  <a:cubicBezTo>
                    <a:pt x="369" y="3"/>
                    <a:pt x="366" y="3"/>
                    <a:pt x="364" y="3"/>
                  </a:cubicBezTo>
                  <a:cubicBezTo>
                    <a:pt x="360" y="3"/>
                    <a:pt x="356" y="0"/>
                    <a:pt x="352" y="0"/>
                  </a:cubicBezTo>
                  <a:cubicBezTo>
                    <a:pt x="346" y="0"/>
                    <a:pt x="338" y="1"/>
                    <a:pt x="332" y="1"/>
                  </a:cubicBezTo>
                  <a:cubicBezTo>
                    <a:pt x="330" y="2"/>
                    <a:pt x="328" y="4"/>
                    <a:pt x="325" y="4"/>
                  </a:cubicBezTo>
                  <a:cubicBezTo>
                    <a:pt x="322" y="5"/>
                    <a:pt x="320" y="3"/>
                    <a:pt x="316" y="3"/>
                  </a:cubicBezTo>
                  <a:cubicBezTo>
                    <a:pt x="311" y="3"/>
                    <a:pt x="307" y="9"/>
                    <a:pt x="301" y="10"/>
                  </a:cubicBezTo>
                  <a:cubicBezTo>
                    <a:pt x="299" y="11"/>
                    <a:pt x="297" y="13"/>
                    <a:pt x="295" y="14"/>
                  </a:cubicBezTo>
                  <a:cubicBezTo>
                    <a:pt x="292" y="15"/>
                    <a:pt x="288" y="16"/>
                    <a:pt x="285" y="17"/>
                  </a:cubicBezTo>
                  <a:cubicBezTo>
                    <a:pt x="280" y="20"/>
                    <a:pt x="276" y="22"/>
                    <a:pt x="272" y="25"/>
                  </a:cubicBezTo>
                  <a:cubicBezTo>
                    <a:pt x="269" y="27"/>
                    <a:pt x="268" y="30"/>
                    <a:pt x="266" y="32"/>
                  </a:cubicBezTo>
                  <a:cubicBezTo>
                    <a:pt x="262" y="35"/>
                    <a:pt x="257" y="39"/>
                    <a:pt x="254" y="44"/>
                  </a:cubicBezTo>
                  <a:cubicBezTo>
                    <a:pt x="253" y="47"/>
                    <a:pt x="253" y="50"/>
                    <a:pt x="251" y="53"/>
                  </a:cubicBezTo>
                  <a:cubicBezTo>
                    <a:pt x="250" y="56"/>
                    <a:pt x="247" y="57"/>
                    <a:pt x="245" y="61"/>
                  </a:cubicBezTo>
                  <a:cubicBezTo>
                    <a:pt x="242" y="69"/>
                    <a:pt x="237" y="87"/>
                    <a:pt x="241" y="95"/>
                  </a:cubicBezTo>
                  <a:cubicBezTo>
                    <a:pt x="245" y="104"/>
                    <a:pt x="240" y="115"/>
                    <a:pt x="244" y="124"/>
                  </a:cubicBezTo>
                  <a:cubicBezTo>
                    <a:pt x="245" y="129"/>
                    <a:pt x="239" y="126"/>
                    <a:pt x="236" y="127"/>
                  </a:cubicBezTo>
                  <a:cubicBezTo>
                    <a:pt x="231" y="130"/>
                    <a:pt x="231" y="138"/>
                    <a:pt x="230" y="142"/>
                  </a:cubicBezTo>
                  <a:cubicBezTo>
                    <a:pt x="228" y="155"/>
                    <a:pt x="226" y="170"/>
                    <a:pt x="229" y="183"/>
                  </a:cubicBezTo>
                  <a:cubicBezTo>
                    <a:pt x="233" y="194"/>
                    <a:pt x="238" y="203"/>
                    <a:pt x="250" y="204"/>
                  </a:cubicBezTo>
                  <a:cubicBezTo>
                    <a:pt x="254" y="204"/>
                    <a:pt x="256" y="203"/>
                    <a:pt x="257" y="207"/>
                  </a:cubicBezTo>
                  <a:cubicBezTo>
                    <a:pt x="258" y="212"/>
                    <a:pt x="257" y="219"/>
                    <a:pt x="257" y="224"/>
                  </a:cubicBezTo>
                  <a:cubicBezTo>
                    <a:pt x="257" y="235"/>
                    <a:pt x="258" y="245"/>
                    <a:pt x="263" y="254"/>
                  </a:cubicBezTo>
                  <a:cubicBezTo>
                    <a:pt x="266" y="259"/>
                    <a:pt x="269" y="263"/>
                    <a:pt x="269" y="269"/>
                  </a:cubicBezTo>
                  <a:cubicBezTo>
                    <a:pt x="268" y="274"/>
                    <a:pt x="268" y="278"/>
                    <a:pt x="268" y="283"/>
                  </a:cubicBezTo>
                  <a:cubicBezTo>
                    <a:pt x="268" y="293"/>
                    <a:pt x="268" y="304"/>
                    <a:pt x="268" y="314"/>
                  </a:cubicBezTo>
                  <a:cubicBezTo>
                    <a:pt x="268" y="323"/>
                    <a:pt x="270" y="334"/>
                    <a:pt x="261" y="340"/>
                  </a:cubicBezTo>
                  <a:cubicBezTo>
                    <a:pt x="257" y="343"/>
                    <a:pt x="252" y="346"/>
                    <a:pt x="246" y="348"/>
                  </a:cubicBezTo>
                  <a:cubicBezTo>
                    <a:pt x="242" y="350"/>
                    <a:pt x="238" y="350"/>
                    <a:pt x="234" y="352"/>
                  </a:cubicBezTo>
                  <a:cubicBezTo>
                    <a:pt x="223" y="359"/>
                    <a:pt x="216" y="369"/>
                    <a:pt x="204" y="374"/>
                  </a:cubicBezTo>
                  <a:cubicBezTo>
                    <a:pt x="188" y="382"/>
                    <a:pt x="173" y="392"/>
                    <a:pt x="157" y="400"/>
                  </a:cubicBezTo>
                  <a:cubicBezTo>
                    <a:pt x="138" y="412"/>
                    <a:pt x="115" y="413"/>
                    <a:pt x="96" y="426"/>
                  </a:cubicBezTo>
                  <a:cubicBezTo>
                    <a:pt x="76" y="439"/>
                    <a:pt x="66" y="460"/>
                    <a:pt x="61" y="482"/>
                  </a:cubicBezTo>
                  <a:cubicBezTo>
                    <a:pt x="57" y="497"/>
                    <a:pt x="53" y="511"/>
                    <a:pt x="50" y="526"/>
                  </a:cubicBezTo>
                  <a:cubicBezTo>
                    <a:pt x="44" y="565"/>
                    <a:pt x="38" y="605"/>
                    <a:pt x="33" y="644"/>
                  </a:cubicBezTo>
                  <a:cubicBezTo>
                    <a:pt x="28" y="681"/>
                    <a:pt x="25" y="719"/>
                    <a:pt x="21" y="757"/>
                  </a:cubicBezTo>
                  <a:cubicBezTo>
                    <a:pt x="19" y="777"/>
                    <a:pt x="18" y="797"/>
                    <a:pt x="16" y="817"/>
                  </a:cubicBezTo>
                  <a:cubicBezTo>
                    <a:pt x="14" y="842"/>
                    <a:pt x="9" y="868"/>
                    <a:pt x="7" y="893"/>
                  </a:cubicBezTo>
                  <a:cubicBezTo>
                    <a:pt x="4" y="916"/>
                    <a:pt x="6" y="939"/>
                    <a:pt x="5" y="962"/>
                  </a:cubicBezTo>
                  <a:cubicBezTo>
                    <a:pt x="5" y="972"/>
                    <a:pt x="4" y="982"/>
                    <a:pt x="4" y="992"/>
                  </a:cubicBezTo>
                  <a:cubicBezTo>
                    <a:pt x="4" y="997"/>
                    <a:pt x="5" y="1002"/>
                    <a:pt x="4" y="1007"/>
                  </a:cubicBezTo>
                  <a:cubicBezTo>
                    <a:pt x="4" y="1016"/>
                    <a:pt x="2" y="1024"/>
                    <a:pt x="3" y="1032"/>
                  </a:cubicBezTo>
                  <a:cubicBezTo>
                    <a:pt x="3" y="1041"/>
                    <a:pt x="9" y="1051"/>
                    <a:pt x="7" y="1059"/>
                  </a:cubicBezTo>
                  <a:cubicBezTo>
                    <a:pt x="4" y="1069"/>
                    <a:pt x="8" y="1083"/>
                    <a:pt x="10" y="1094"/>
                  </a:cubicBezTo>
                  <a:cubicBezTo>
                    <a:pt x="12" y="1105"/>
                    <a:pt x="17" y="1115"/>
                    <a:pt x="8" y="1125"/>
                  </a:cubicBezTo>
                  <a:cubicBezTo>
                    <a:pt x="4" y="1129"/>
                    <a:pt x="3" y="1134"/>
                    <a:pt x="3" y="1140"/>
                  </a:cubicBezTo>
                  <a:cubicBezTo>
                    <a:pt x="3" y="1143"/>
                    <a:pt x="3" y="1146"/>
                    <a:pt x="3" y="1150"/>
                  </a:cubicBezTo>
                  <a:cubicBezTo>
                    <a:pt x="4" y="1153"/>
                    <a:pt x="8" y="1158"/>
                    <a:pt x="7" y="1161"/>
                  </a:cubicBezTo>
                  <a:cubicBezTo>
                    <a:pt x="5" y="1167"/>
                    <a:pt x="0" y="1172"/>
                    <a:pt x="4" y="1179"/>
                  </a:cubicBezTo>
                  <a:cubicBezTo>
                    <a:pt x="8" y="1185"/>
                    <a:pt x="14" y="1183"/>
                    <a:pt x="19" y="1186"/>
                  </a:cubicBezTo>
                  <a:cubicBezTo>
                    <a:pt x="22" y="1188"/>
                    <a:pt x="15" y="1195"/>
                    <a:pt x="14" y="1198"/>
                  </a:cubicBezTo>
                  <a:cubicBezTo>
                    <a:pt x="13" y="1204"/>
                    <a:pt x="14" y="1210"/>
                    <a:pt x="15" y="1215"/>
                  </a:cubicBezTo>
                  <a:cubicBezTo>
                    <a:pt x="16" y="1220"/>
                    <a:pt x="12" y="1220"/>
                    <a:pt x="12" y="1223"/>
                  </a:cubicBezTo>
                  <a:cubicBezTo>
                    <a:pt x="13" y="1227"/>
                    <a:pt x="16" y="1229"/>
                    <a:pt x="16" y="1233"/>
                  </a:cubicBezTo>
                  <a:cubicBezTo>
                    <a:pt x="17" y="1245"/>
                    <a:pt x="16" y="1256"/>
                    <a:pt x="14" y="1267"/>
                  </a:cubicBezTo>
                  <a:cubicBezTo>
                    <a:pt x="13" y="1275"/>
                    <a:pt x="20" y="1284"/>
                    <a:pt x="22" y="1291"/>
                  </a:cubicBezTo>
                  <a:cubicBezTo>
                    <a:pt x="26" y="1302"/>
                    <a:pt x="29" y="1313"/>
                    <a:pt x="34" y="1324"/>
                  </a:cubicBezTo>
                  <a:cubicBezTo>
                    <a:pt x="41" y="1343"/>
                    <a:pt x="57" y="1349"/>
                    <a:pt x="76" y="1355"/>
                  </a:cubicBezTo>
                  <a:cubicBezTo>
                    <a:pt x="80" y="1356"/>
                    <a:pt x="88" y="1359"/>
                    <a:pt x="92" y="1358"/>
                  </a:cubicBezTo>
                  <a:cubicBezTo>
                    <a:pt x="96" y="1357"/>
                    <a:pt x="98" y="1357"/>
                    <a:pt x="102" y="1358"/>
                  </a:cubicBezTo>
                  <a:cubicBezTo>
                    <a:pt x="109" y="1359"/>
                    <a:pt x="107" y="1373"/>
                    <a:pt x="108" y="1379"/>
                  </a:cubicBezTo>
                  <a:cubicBezTo>
                    <a:pt x="111" y="1404"/>
                    <a:pt x="115" y="1429"/>
                    <a:pt x="120" y="1453"/>
                  </a:cubicBezTo>
                  <a:cubicBezTo>
                    <a:pt x="124" y="1473"/>
                    <a:pt x="131" y="1492"/>
                    <a:pt x="135" y="1512"/>
                  </a:cubicBezTo>
                  <a:cubicBezTo>
                    <a:pt x="138" y="1532"/>
                    <a:pt x="139" y="1553"/>
                    <a:pt x="140" y="1573"/>
                  </a:cubicBezTo>
                  <a:cubicBezTo>
                    <a:pt x="143" y="1647"/>
                    <a:pt x="140" y="1720"/>
                    <a:pt x="145" y="1793"/>
                  </a:cubicBezTo>
                  <a:cubicBezTo>
                    <a:pt x="150" y="1860"/>
                    <a:pt x="153" y="1926"/>
                    <a:pt x="157" y="1992"/>
                  </a:cubicBezTo>
                  <a:cubicBezTo>
                    <a:pt x="158" y="2011"/>
                    <a:pt x="159" y="2029"/>
                    <a:pt x="159" y="2048"/>
                  </a:cubicBezTo>
                  <a:cubicBezTo>
                    <a:pt x="159" y="2053"/>
                    <a:pt x="160" y="2057"/>
                    <a:pt x="160" y="2062"/>
                  </a:cubicBezTo>
                  <a:cubicBezTo>
                    <a:pt x="160" y="2077"/>
                    <a:pt x="164" y="2090"/>
                    <a:pt x="167" y="2105"/>
                  </a:cubicBezTo>
                  <a:cubicBezTo>
                    <a:pt x="170" y="2114"/>
                    <a:pt x="165" y="2124"/>
                    <a:pt x="169" y="2133"/>
                  </a:cubicBezTo>
                  <a:cubicBezTo>
                    <a:pt x="171" y="2138"/>
                    <a:pt x="173" y="2140"/>
                    <a:pt x="173" y="2144"/>
                  </a:cubicBezTo>
                  <a:cubicBezTo>
                    <a:pt x="175" y="2162"/>
                    <a:pt x="176" y="2179"/>
                    <a:pt x="179" y="2196"/>
                  </a:cubicBezTo>
                  <a:cubicBezTo>
                    <a:pt x="180" y="2202"/>
                    <a:pt x="180" y="2210"/>
                    <a:pt x="184" y="2216"/>
                  </a:cubicBezTo>
                  <a:cubicBezTo>
                    <a:pt x="187" y="2221"/>
                    <a:pt x="192" y="2216"/>
                    <a:pt x="196" y="2217"/>
                  </a:cubicBezTo>
                  <a:cubicBezTo>
                    <a:pt x="205" y="2218"/>
                    <a:pt x="183" y="2238"/>
                    <a:pt x="183" y="2239"/>
                  </a:cubicBezTo>
                  <a:cubicBezTo>
                    <a:pt x="172" y="2249"/>
                    <a:pt x="165" y="2261"/>
                    <a:pt x="151" y="2268"/>
                  </a:cubicBezTo>
                  <a:cubicBezTo>
                    <a:pt x="142" y="2273"/>
                    <a:pt x="128" y="2275"/>
                    <a:pt x="124" y="2287"/>
                  </a:cubicBezTo>
                  <a:cubicBezTo>
                    <a:pt x="123" y="2291"/>
                    <a:pt x="125" y="2298"/>
                    <a:pt x="120" y="2301"/>
                  </a:cubicBezTo>
                  <a:cubicBezTo>
                    <a:pt x="117" y="2303"/>
                    <a:pt x="111" y="2303"/>
                    <a:pt x="111" y="2308"/>
                  </a:cubicBezTo>
                  <a:cubicBezTo>
                    <a:pt x="112" y="2315"/>
                    <a:pt x="117" y="2315"/>
                    <a:pt x="122" y="2316"/>
                  </a:cubicBezTo>
                  <a:cubicBezTo>
                    <a:pt x="128" y="2316"/>
                    <a:pt x="133" y="2318"/>
                    <a:pt x="138" y="2320"/>
                  </a:cubicBezTo>
                  <a:cubicBezTo>
                    <a:pt x="157" y="2323"/>
                    <a:pt x="177" y="2323"/>
                    <a:pt x="197" y="2323"/>
                  </a:cubicBezTo>
                  <a:cubicBezTo>
                    <a:pt x="215" y="2323"/>
                    <a:pt x="233" y="2322"/>
                    <a:pt x="251" y="2320"/>
                  </a:cubicBezTo>
                  <a:cubicBezTo>
                    <a:pt x="260" y="2320"/>
                    <a:pt x="271" y="2320"/>
                    <a:pt x="273" y="2309"/>
                  </a:cubicBezTo>
                  <a:cubicBezTo>
                    <a:pt x="275" y="2299"/>
                    <a:pt x="277" y="2294"/>
                    <a:pt x="287" y="2298"/>
                  </a:cubicBezTo>
                  <a:cubicBezTo>
                    <a:pt x="298" y="2302"/>
                    <a:pt x="305" y="2301"/>
                    <a:pt x="316" y="2298"/>
                  </a:cubicBezTo>
                  <a:cubicBezTo>
                    <a:pt x="323" y="2295"/>
                    <a:pt x="344" y="2293"/>
                    <a:pt x="343" y="2282"/>
                  </a:cubicBezTo>
                  <a:cubicBezTo>
                    <a:pt x="342" y="2275"/>
                    <a:pt x="342" y="2268"/>
                    <a:pt x="342" y="2262"/>
                  </a:cubicBezTo>
                  <a:cubicBezTo>
                    <a:pt x="342" y="2257"/>
                    <a:pt x="343" y="2250"/>
                    <a:pt x="341" y="2246"/>
                  </a:cubicBezTo>
                  <a:cubicBezTo>
                    <a:pt x="339" y="2243"/>
                    <a:pt x="335" y="2244"/>
                    <a:pt x="334" y="2243"/>
                  </a:cubicBezTo>
                  <a:cubicBezTo>
                    <a:pt x="332" y="2239"/>
                    <a:pt x="334" y="2230"/>
                    <a:pt x="334" y="2225"/>
                  </a:cubicBezTo>
                  <a:cubicBezTo>
                    <a:pt x="334" y="2221"/>
                    <a:pt x="334" y="2215"/>
                    <a:pt x="332" y="2211"/>
                  </a:cubicBezTo>
                  <a:cubicBezTo>
                    <a:pt x="330" y="2207"/>
                    <a:pt x="333" y="2204"/>
                    <a:pt x="335" y="2199"/>
                  </a:cubicBezTo>
                  <a:cubicBezTo>
                    <a:pt x="337" y="2194"/>
                    <a:pt x="335" y="2188"/>
                    <a:pt x="334" y="2183"/>
                  </a:cubicBezTo>
                  <a:cubicBezTo>
                    <a:pt x="333" y="2175"/>
                    <a:pt x="334" y="2167"/>
                    <a:pt x="333" y="2159"/>
                  </a:cubicBezTo>
                  <a:cubicBezTo>
                    <a:pt x="332" y="2142"/>
                    <a:pt x="331" y="2124"/>
                    <a:pt x="330" y="2106"/>
                  </a:cubicBezTo>
                  <a:cubicBezTo>
                    <a:pt x="328" y="2086"/>
                    <a:pt x="326" y="2067"/>
                    <a:pt x="324" y="2047"/>
                  </a:cubicBezTo>
                  <a:cubicBezTo>
                    <a:pt x="321" y="2027"/>
                    <a:pt x="323" y="2006"/>
                    <a:pt x="323" y="1985"/>
                  </a:cubicBezTo>
                  <a:cubicBezTo>
                    <a:pt x="322" y="1966"/>
                    <a:pt x="321" y="1947"/>
                    <a:pt x="319" y="1928"/>
                  </a:cubicBezTo>
                  <a:cubicBezTo>
                    <a:pt x="317" y="1902"/>
                    <a:pt x="318" y="1877"/>
                    <a:pt x="316" y="1852"/>
                  </a:cubicBezTo>
                  <a:cubicBezTo>
                    <a:pt x="313" y="1824"/>
                    <a:pt x="309" y="1796"/>
                    <a:pt x="298" y="1770"/>
                  </a:cubicBezTo>
                  <a:cubicBezTo>
                    <a:pt x="294" y="1759"/>
                    <a:pt x="290" y="1752"/>
                    <a:pt x="289" y="1740"/>
                  </a:cubicBezTo>
                  <a:cubicBezTo>
                    <a:pt x="288" y="1729"/>
                    <a:pt x="290" y="1718"/>
                    <a:pt x="289" y="1706"/>
                  </a:cubicBezTo>
                  <a:cubicBezTo>
                    <a:pt x="287" y="1683"/>
                    <a:pt x="283" y="1661"/>
                    <a:pt x="286" y="1638"/>
                  </a:cubicBezTo>
                  <a:cubicBezTo>
                    <a:pt x="289" y="1609"/>
                    <a:pt x="292" y="1580"/>
                    <a:pt x="296" y="1552"/>
                  </a:cubicBezTo>
                  <a:cubicBezTo>
                    <a:pt x="302" y="1520"/>
                    <a:pt x="305" y="1488"/>
                    <a:pt x="309" y="1456"/>
                  </a:cubicBezTo>
                  <a:cubicBezTo>
                    <a:pt x="312" y="1435"/>
                    <a:pt x="315" y="1415"/>
                    <a:pt x="319" y="1394"/>
                  </a:cubicBezTo>
                  <a:cubicBezTo>
                    <a:pt x="320" y="1384"/>
                    <a:pt x="318" y="1375"/>
                    <a:pt x="319" y="1365"/>
                  </a:cubicBezTo>
                  <a:cubicBezTo>
                    <a:pt x="320" y="1355"/>
                    <a:pt x="323" y="1345"/>
                    <a:pt x="322" y="1335"/>
                  </a:cubicBezTo>
                  <a:cubicBezTo>
                    <a:pt x="322" y="1326"/>
                    <a:pt x="322" y="1318"/>
                    <a:pt x="325" y="1309"/>
                  </a:cubicBezTo>
                  <a:cubicBezTo>
                    <a:pt x="327" y="1304"/>
                    <a:pt x="329" y="1292"/>
                    <a:pt x="332" y="1289"/>
                  </a:cubicBezTo>
                  <a:cubicBezTo>
                    <a:pt x="332" y="1290"/>
                    <a:pt x="336" y="1293"/>
                    <a:pt x="337" y="1293"/>
                  </a:cubicBezTo>
                  <a:cubicBezTo>
                    <a:pt x="341" y="1295"/>
                    <a:pt x="343" y="1295"/>
                    <a:pt x="344" y="1300"/>
                  </a:cubicBezTo>
                  <a:cubicBezTo>
                    <a:pt x="347" y="1311"/>
                    <a:pt x="349" y="1323"/>
                    <a:pt x="352" y="1334"/>
                  </a:cubicBezTo>
                  <a:cubicBezTo>
                    <a:pt x="357" y="1354"/>
                    <a:pt x="359" y="1375"/>
                    <a:pt x="361" y="1396"/>
                  </a:cubicBezTo>
                  <a:cubicBezTo>
                    <a:pt x="365" y="1433"/>
                    <a:pt x="372" y="1470"/>
                    <a:pt x="376" y="1507"/>
                  </a:cubicBezTo>
                  <a:cubicBezTo>
                    <a:pt x="378" y="1526"/>
                    <a:pt x="381" y="1544"/>
                    <a:pt x="384" y="1561"/>
                  </a:cubicBezTo>
                  <a:cubicBezTo>
                    <a:pt x="388" y="1578"/>
                    <a:pt x="390" y="1597"/>
                    <a:pt x="396" y="1613"/>
                  </a:cubicBezTo>
                  <a:cubicBezTo>
                    <a:pt x="404" y="1633"/>
                    <a:pt x="411" y="1652"/>
                    <a:pt x="415" y="1674"/>
                  </a:cubicBezTo>
                  <a:cubicBezTo>
                    <a:pt x="418" y="1695"/>
                    <a:pt x="422" y="1715"/>
                    <a:pt x="424" y="1736"/>
                  </a:cubicBezTo>
                  <a:cubicBezTo>
                    <a:pt x="429" y="1768"/>
                    <a:pt x="430" y="1800"/>
                    <a:pt x="433" y="1832"/>
                  </a:cubicBezTo>
                  <a:cubicBezTo>
                    <a:pt x="436" y="1867"/>
                    <a:pt x="440" y="1901"/>
                    <a:pt x="443" y="1936"/>
                  </a:cubicBezTo>
                  <a:cubicBezTo>
                    <a:pt x="447" y="1970"/>
                    <a:pt x="451" y="2004"/>
                    <a:pt x="455" y="2039"/>
                  </a:cubicBezTo>
                  <a:cubicBezTo>
                    <a:pt x="458" y="2067"/>
                    <a:pt x="457" y="2096"/>
                    <a:pt x="459" y="2124"/>
                  </a:cubicBezTo>
                  <a:cubicBezTo>
                    <a:pt x="460" y="2144"/>
                    <a:pt x="468" y="2163"/>
                    <a:pt x="471" y="2183"/>
                  </a:cubicBezTo>
                  <a:cubicBezTo>
                    <a:pt x="472" y="2192"/>
                    <a:pt x="471" y="2201"/>
                    <a:pt x="472" y="2210"/>
                  </a:cubicBezTo>
                  <a:cubicBezTo>
                    <a:pt x="472" y="2218"/>
                    <a:pt x="479" y="2223"/>
                    <a:pt x="478" y="2230"/>
                  </a:cubicBezTo>
                  <a:cubicBezTo>
                    <a:pt x="477" y="2234"/>
                    <a:pt x="478" y="2238"/>
                    <a:pt x="477" y="2243"/>
                  </a:cubicBezTo>
                  <a:cubicBezTo>
                    <a:pt x="477" y="2246"/>
                    <a:pt x="473" y="2245"/>
                    <a:pt x="471" y="2246"/>
                  </a:cubicBezTo>
                  <a:cubicBezTo>
                    <a:pt x="469" y="2248"/>
                    <a:pt x="469" y="2256"/>
                    <a:pt x="469" y="2259"/>
                  </a:cubicBezTo>
                  <a:cubicBezTo>
                    <a:pt x="468" y="2266"/>
                    <a:pt x="468" y="2274"/>
                    <a:pt x="468" y="2282"/>
                  </a:cubicBezTo>
                  <a:cubicBezTo>
                    <a:pt x="467" y="2289"/>
                    <a:pt x="468" y="2295"/>
                    <a:pt x="476" y="2298"/>
                  </a:cubicBezTo>
                  <a:cubicBezTo>
                    <a:pt x="480" y="2300"/>
                    <a:pt x="484" y="2303"/>
                    <a:pt x="489" y="2304"/>
                  </a:cubicBezTo>
                  <a:cubicBezTo>
                    <a:pt x="491" y="2305"/>
                    <a:pt x="497" y="2301"/>
                    <a:pt x="498" y="2302"/>
                  </a:cubicBezTo>
                  <a:cubicBezTo>
                    <a:pt x="501" y="2305"/>
                    <a:pt x="488" y="2317"/>
                    <a:pt x="497" y="2323"/>
                  </a:cubicBezTo>
                  <a:cubicBezTo>
                    <a:pt x="505" y="2329"/>
                    <a:pt x="519" y="2329"/>
                    <a:pt x="529" y="2330"/>
                  </a:cubicBezTo>
                  <a:cubicBezTo>
                    <a:pt x="550" y="2334"/>
                    <a:pt x="572" y="2335"/>
                    <a:pt x="594" y="2334"/>
                  </a:cubicBezTo>
                  <a:cubicBezTo>
                    <a:pt x="607" y="2333"/>
                    <a:pt x="620" y="2331"/>
                    <a:pt x="634" y="2331"/>
                  </a:cubicBezTo>
                  <a:cubicBezTo>
                    <a:pt x="645" y="2331"/>
                    <a:pt x="640" y="2319"/>
                    <a:pt x="634" y="2314"/>
                  </a:cubicBezTo>
                  <a:cubicBezTo>
                    <a:pt x="631" y="2312"/>
                    <a:pt x="630" y="2313"/>
                    <a:pt x="630" y="2309"/>
                  </a:cubicBezTo>
                  <a:cubicBezTo>
                    <a:pt x="630" y="2304"/>
                    <a:pt x="630" y="2298"/>
                    <a:pt x="629" y="2293"/>
                  </a:cubicBezTo>
                  <a:cubicBezTo>
                    <a:pt x="625" y="2283"/>
                    <a:pt x="615" y="2275"/>
                    <a:pt x="611" y="2265"/>
                  </a:cubicBezTo>
                  <a:cubicBezTo>
                    <a:pt x="606" y="2255"/>
                    <a:pt x="597" y="2249"/>
                    <a:pt x="594" y="2238"/>
                  </a:cubicBezTo>
                  <a:cubicBezTo>
                    <a:pt x="590" y="2228"/>
                    <a:pt x="591" y="2228"/>
                    <a:pt x="597" y="2219"/>
                  </a:cubicBezTo>
                  <a:cubicBezTo>
                    <a:pt x="604" y="2208"/>
                    <a:pt x="600" y="2196"/>
                    <a:pt x="598" y="2184"/>
                  </a:cubicBezTo>
                  <a:cubicBezTo>
                    <a:pt x="596" y="2174"/>
                    <a:pt x="595" y="2163"/>
                    <a:pt x="594" y="2152"/>
                  </a:cubicBezTo>
                  <a:cubicBezTo>
                    <a:pt x="592" y="2132"/>
                    <a:pt x="584" y="2106"/>
                    <a:pt x="593" y="2087"/>
                  </a:cubicBezTo>
                  <a:cubicBezTo>
                    <a:pt x="599" y="2074"/>
                    <a:pt x="597" y="2057"/>
                    <a:pt x="598" y="2043"/>
                  </a:cubicBezTo>
                  <a:cubicBezTo>
                    <a:pt x="598" y="2006"/>
                    <a:pt x="597" y="1969"/>
                    <a:pt x="596" y="1932"/>
                  </a:cubicBezTo>
                  <a:cubicBezTo>
                    <a:pt x="596" y="1891"/>
                    <a:pt x="595" y="1851"/>
                    <a:pt x="591" y="1810"/>
                  </a:cubicBezTo>
                  <a:cubicBezTo>
                    <a:pt x="590" y="1792"/>
                    <a:pt x="587" y="1773"/>
                    <a:pt x="586" y="1754"/>
                  </a:cubicBezTo>
                  <a:cubicBezTo>
                    <a:pt x="584" y="1732"/>
                    <a:pt x="585" y="1711"/>
                    <a:pt x="582" y="1689"/>
                  </a:cubicBezTo>
                  <a:cubicBezTo>
                    <a:pt x="579" y="1666"/>
                    <a:pt x="583" y="1642"/>
                    <a:pt x="584" y="1619"/>
                  </a:cubicBezTo>
                  <a:cubicBezTo>
                    <a:pt x="584" y="1586"/>
                    <a:pt x="589" y="1553"/>
                    <a:pt x="592" y="1520"/>
                  </a:cubicBezTo>
                  <a:cubicBezTo>
                    <a:pt x="596" y="1465"/>
                    <a:pt x="584" y="1412"/>
                    <a:pt x="584" y="1357"/>
                  </a:cubicBezTo>
                  <a:cubicBezTo>
                    <a:pt x="584" y="1352"/>
                    <a:pt x="583" y="1341"/>
                    <a:pt x="588" y="1338"/>
                  </a:cubicBezTo>
                  <a:cubicBezTo>
                    <a:pt x="592" y="1336"/>
                    <a:pt x="597" y="1335"/>
                    <a:pt x="601" y="1332"/>
                  </a:cubicBezTo>
                  <a:cubicBezTo>
                    <a:pt x="607" y="1329"/>
                    <a:pt x="615" y="1328"/>
                    <a:pt x="619" y="1324"/>
                  </a:cubicBezTo>
                  <a:cubicBezTo>
                    <a:pt x="622" y="1321"/>
                    <a:pt x="624" y="1319"/>
                    <a:pt x="629" y="1319"/>
                  </a:cubicBezTo>
                  <a:cubicBezTo>
                    <a:pt x="635" y="1318"/>
                    <a:pt x="636" y="1314"/>
                    <a:pt x="637" y="1309"/>
                  </a:cubicBezTo>
                  <a:cubicBezTo>
                    <a:pt x="639" y="1305"/>
                    <a:pt x="641" y="1304"/>
                    <a:pt x="645" y="1302"/>
                  </a:cubicBezTo>
                  <a:cubicBezTo>
                    <a:pt x="651" y="1300"/>
                    <a:pt x="652" y="1293"/>
                    <a:pt x="654" y="1288"/>
                  </a:cubicBezTo>
                  <a:cubicBezTo>
                    <a:pt x="656" y="1278"/>
                    <a:pt x="657" y="1268"/>
                    <a:pt x="660" y="1258"/>
                  </a:cubicBezTo>
                  <a:cubicBezTo>
                    <a:pt x="663" y="1247"/>
                    <a:pt x="661" y="1232"/>
                    <a:pt x="661" y="1220"/>
                  </a:cubicBezTo>
                  <a:cubicBezTo>
                    <a:pt x="661" y="1218"/>
                    <a:pt x="659" y="1207"/>
                    <a:pt x="661" y="1207"/>
                  </a:cubicBezTo>
                  <a:cubicBezTo>
                    <a:pt x="663" y="1207"/>
                    <a:pt x="666" y="1205"/>
                    <a:pt x="665" y="1203"/>
                  </a:cubicBezTo>
                  <a:cubicBezTo>
                    <a:pt x="665" y="1200"/>
                    <a:pt x="663" y="1199"/>
                    <a:pt x="663" y="1196"/>
                  </a:cubicBezTo>
                  <a:cubicBezTo>
                    <a:pt x="664" y="1189"/>
                    <a:pt x="667" y="1185"/>
                    <a:pt x="667" y="1178"/>
                  </a:cubicBezTo>
                  <a:cubicBezTo>
                    <a:pt x="666" y="1173"/>
                    <a:pt x="666" y="1167"/>
                    <a:pt x="663" y="1164"/>
                  </a:cubicBezTo>
                  <a:cubicBezTo>
                    <a:pt x="659" y="1158"/>
                    <a:pt x="664" y="1160"/>
                    <a:pt x="667" y="1156"/>
                  </a:cubicBezTo>
                  <a:cubicBezTo>
                    <a:pt x="671" y="1150"/>
                    <a:pt x="670" y="1138"/>
                    <a:pt x="668" y="1131"/>
                  </a:cubicBezTo>
                  <a:cubicBezTo>
                    <a:pt x="667" y="1127"/>
                    <a:pt x="665" y="1127"/>
                    <a:pt x="663" y="1123"/>
                  </a:cubicBezTo>
                  <a:cubicBezTo>
                    <a:pt x="661" y="1119"/>
                    <a:pt x="667" y="1112"/>
                    <a:pt x="669" y="1109"/>
                  </a:cubicBezTo>
                  <a:cubicBezTo>
                    <a:pt x="671" y="1103"/>
                    <a:pt x="673" y="1096"/>
                    <a:pt x="671" y="1089"/>
                  </a:cubicBezTo>
                  <a:cubicBezTo>
                    <a:pt x="670" y="1082"/>
                    <a:pt x="664" y="1076"/>
                    <a:pt x="667" y="1068"/>
                  </a:cubicBezTo>
                  <a:cubicBezTo>
                    <a:pt x="670" y="1062"/>
                    <a:pt x="674" y="1058"/>
                    <a:pt x="675" y="1052"/>
                  </a:cubicBezTo>
                  <a:cubicBezTo>
                    <a:pt x="676" y="1046"/>
                    <a:pt x="676" y="1041"/>
                    <a:pt x="676" y="1035"/>
                  </a:cubicBezTo>
                  <a:cubicBezTo>
                    <a:pt x="676" y="1022"/>
                    <a:pt x="680" y="1011"/>
                    <a:pt x="676" y="998"/>
                  </a:cubicBezTo>
                  <a:moveTo>
                    <a:pt x="95" y="1318"/>
                  </a:moveTo>
                  <a:cubicBezTo>
                    <a:pt x="91" y="1319"/>
                    <a:pt x="87" y="1323"/>
                    <a:pt x="86" y="1318"/>
                  </a:cubicBezTo>
                  <a:cubicBezTo>
                    <a:pt x="85" y="1310"/>
                    <a:pt x="85" y="1301"/>
                    <a:pt x="82" y="1294"/>
                  </a:cubicBezTo>
                  <a:cubicBezTo>
                    <a:pt x="80" y="1292"/>
                    <a:pt x="82" y="1291"/>
                    <a:pt x="83" y="1290"/>
                  </a:cubicBezTo>
                  <a:cubicBezTo>
                    <a:pt x="84" y="1286"/>
                    <a:pt x="81" y="1281"/>
                    <a:pt x="81" y="1278"/>
                  </a:cubicBezTo>
                  <a:cubicBezTo>
                    <a:pt x="80" y="1272"/>
                    <a:pt x="79" y="1266"/>
                    <a:pt x="86" y="1265"/>
                  </a:cubicBezTo>
                  <a:cubicBezTo>
                    <a:pt x="87" y="1265"/>
                    <a:pt x="94" y="1260"/>
                    <a:pt x="95" y="1262"/>
                  </a:cubicBezTo>
                  <a:cubicBezTo>
                    <a:pt x="98" y="1267"/>
                    <a:pt x="96" y="1278"/>
                    <a:pt x="96" y="1283"/>
                  </a:cubicBezTo>
                  <a:cubicBezTo>
                    <a:pt x="97" y="1291"/>
                    <a:pt x="97" y="1299"/>
                    <a:pt x="98" y="1307"/>
                  </a:cubicBezTo>
                  <a:cubicBezTo>
                    <a:pt x="99" y="1313"/>
                    <a:pt x="102" y="1316"/>
                    <a:pt x="95" y="1318"/>
                  </a:cubicBezTo>
                  <a:moveTo>
                    <a:pt x="146" y="764"/>
                  </a:moveTo>
                  <a:cubicBezTo>
                    <a:pt x="146" y="772"/>
                    <a:pt x="143" y="781"/>
                    <a:pt x="142" y="790"/>
                  </a:cubicBezTo>
                  <a:cubicBezTo>
                    <a:pt x="141" y="800"/>
                    <a:pt x="143" y="810"/>
                    <a:pt x="145" y="821"/>
                  </a:cubicBezTo>
                  <a:cubicBezTo>
                    <a:pt x="146" y="828"/>
                    <a:pt x="147" y="836"/>
                    <a:pt x="145" y="844"/>
                  </a:cubicBezTo>
                  <a:cubicBezTo>
                    <a:pt x="144" y="853"/>
                    <a:pt x="140" y="862"/>
                    <a:pt x="139" y="872"/>
                  </a:cubicBezTo>
                  <a:cubicBezTo>
                    <a:pt x="139" y="882"/>
                    <a:pt x="139" y="893"/>
                    <a:pt x="138" y="904"/>
                  </a:cubicBezTo>
                  <a:cubicBezTo>
                    <a:pt x="137" y="913"/>
                    <a:pt x="134" y="922"/>
                    <a:pt x="135" y="931"/>
                  </a:cubicBezTo>
                  <a:cubicBezTo>
                    <a:pt x="135" y="940"/>
                    <a:pt x="142" y="948"/>
                    <a:pt x="139" y="958"/>
                  </a:cubicBezTo>
                  <a:cubicBezTo>
                    <a:pt x="137" y="969"/>
                    <a:pt x="131" y="980"/>
                    <a:pt x="128" y="991"/>
                  </a:cubicBezTo>
                  <a:cubicBezTo>
                    <a:pt x="125" y="999"/>
                    <a:pt x="123" y="1007"/>
                    <a:pt x="122" y="1016"/>
                  </a:cubicBezTo>
                  <a:cubicBezTo>
                    <a:pt x="120" y="1023"/>
                    <a:pt x="116" y="1029"/>
                    <a:pt x="114" y="1036"/>
                  </a:cubicBezTo>
                  <a:cubicBezTo>
                    <a:pt x="110" y="1050"/>
                    <a:pt x="108" y="1065"/>
                    <a:pt x="106" y="1080"/>
                  </a:cubicBezTo>
                  <a:cubicBezTo>
                    <a:pt x="104" y="1087"/>
                    <a:pt x="96" y="1090"/>
                    <a:pt x="104" y="1095"/>
                  </a:cubicBezTo>
                  <a:cubicBezTo>
                    <a:pt x="108" y="1099"/>
                    <a:pt x="104" y="1113"/>
                    <a:pt x="103" y="1118"/>
                  </a:cubicBezTo>
                  <a:cubicBezTo>
                    <a:pt x="103" y="1120"/>
                    <a:pt x="101" y="1141"/>
                    <a:pt x="99" y="1142"/>
                  </a:cubicBezTo>
                  <a:cubicBezTo>
                    <a:pt x="96" y="1142"/>
                    <a:pt x="91" y="1128"/>
                    <a:pt x="91" y="1125"/>
                  </a:cubicBezTo>
                  <a:cubicBezTo>
                    <a:pt x="91" y="1119"/>
                    <a:pt x="92" y="1114"/>
                    <a:pt x="93" y="1108"/>
                  </a:cubicBezTo>
                  <a:cubicBezTo>
                    <a:pt x="93" y="1104"/>
                    <a:pt x="91" y="1099"/>
                    <a:pt x="92" y="1095"/>
                  </a:cubicBezTo>
                  <a:cubicBezTo>
                    <a:pt x="98" y="1080"/>
                    <a:pt x="100" y="1065"/>
                    <a:pt x="104" y="1050"/>
                  </a:cubicBezTo>
                  <a:cubicBezTo>
                    <a:pt x="106" y="1042"/>
                    <a:pt x="108" y="1034"/>
                    <a:pt x="110" y="1026"/>
                  </a:cubicBezTo>
                  <a:cubicBezTo>
                    <a:pt x="112" y="1018"/>
                    <a:pt x="118" y="1008"/>
                    <a:pt x="117" y="1000"/>
                  </a:cubicBezTo>
                  <a:cubicBezTo>
                    <a:pt x="117" y="994"/>
                    <a:pt x="115" y="988"/>
                    <a:pt x="117" y="982"/>
                  </a:cubicBezTo>
                  <a:cubicBezTo>
                    <a:pt x="118" y="977"/>
                    <a:pt x="120" y="973"/>
                    <a:pt x="121" y="969"/>
                  </a:cubicBezTo>
                  <a:cubicBezTo>
                    <a:pt x="123" y="958"/>
                    <a:pt x="122" y="947"/>
                    <a:pt x="124" y="936"/>
                  </a:cubicBezTo>
                  <a:cubicBezTo>
                    <a:pt x="126" y="924"/>
                    <a:pt x="130" y="918"/>
                    <a:pt x="126" y="906"/>
                  </a:cubicBezTo>
                  <a:cubicBezTo>
                    <a:pt x="124" y="897"/>
                    <a:pt x="129" y="888"/>
                    <a:pt x="132" y="879"/>
                  </a:cubicBezTo>
                  <a:cubicBezTo>
                    <a:pt x="135" y="868"/>
                    <a:pt x="133" y="860"/>
                    <a:pt x="133" y="849"/>
                  </a:cubicBezTo>
                  <a:cubicBezTo>
                    <a:pt x="132" y="842"/>
                    <a:pt x="129" y="832"/>
                    <a:pt x="131" y="825"/>
                  </a:cubicBezTo>
                  <a:cubicBezTo>
                    <a:pt x="137" y="805"/>
                    <a:pt x="133" y="784"/>
                    <a:pt x="137" y="764"/>
                  </a:cubicBezTo>
                  <a:cubicBezTo>
                    <a:pt x="140" y="753"/>
                    <a:pt x="142" y="743"/>
                    <a:pt x="144" y="733"/>
                  </a:cubicBezTo>
                  <a:cubicBezTo>
                    <a:pt x="144" y="731"/>
                    <a:pt x="145" y="722"/>
                    <a:pt x="147" y="720"/>
                  </a:cubicBezTo>
                  <a:cubicBezTo>
                    <a:pt x="147" y="721"/>
                    <a:pt x="147" y="731"/>
                    <a:pt x="147" y="732"/>
                  </a:cubicBezTo>
                  <a:cubicBezTo>
                    <a:pt x="147" y="736"/>
                    <a:pt x="148" y="738"/>
                    <a:pt x="148" y="742"/>
                  </a:cubicBezTo>
                  <a:cubicBezTo>
                    <a:pt x="150" y="749"/>
                    <a:pt x="147" y="756"/>
                    <a:pt x="146" y="764"/>
                  </a:cubicBezTo>
                  <a:moveTo>
                    <a:pt x="565" y="1169"/>
                  </a:moveTo>
                  <a:cubicBezTo>
                    <a:pt x="567" y="1152"/>
                    <a:pt x="564" y="1133"/>
                    <a:pt x="562" y="1116"/>
                  </a:cubicBezTo>
                  <a:cubicBezTo>
                    <a:pt x="561" y="1109"/>
                    <a:pt x="557" y="1103"/>
                    <a:pt x="563" y="1097"/>
                  </a:cubicBezTo>
                  <a:cubicBezTo>
                    <a:pt x="565" y="1095"/>
                    <a:pt x="571" y="1093"/>
                    <a:pt x="567" y="1088"/>
                  </a:cubicBezTo>
                  <a:cubicBezTo>
                    <a:pt x="564" y="1085"/>
                    <a:pt x="562" y="1087"/>
                    <a:pt x="561" y="1083"/>
                  </a:cubicBezTo>
                  <a:cubicBezTo>
                    <a:pt x="555" y="1062"/>
                    <a:pt x="549" y="1042"/>
                    <a:pt x="546" y="1020"/>
                  </a:cubicBezTo>
                  <a:cubicBezTo>
                    <a:pt x="543" y="994"/>
                    <a:pt x="534" y="969"/>
                    <a:pt x="535" y="943"/>
                  </a:cubicBezTo>
                  <a:cubicBezTo>
                    <a:pt x="535" y="924"/>
                    <a:pt x="533" y="904"/>
                    <a:pt x="533" y="885"/>
                  </a:cubicBezTo>
                  <a:cubicBezTo>
                    <a:pt x="533" y="863"/>
                    <a:pt x="534" y="840"/>
                    <a:pt x="534" y="817"/>
                  </a:cubicBezTo>
                  <a:cubicBezTo>
                    <a:pt x="534" y="797"/>
                    <a:pt x="533" y="778"/>
                    <a:pt x="534" y="758"/>
                  </a:cubicBezTo>
                  <a:cubicBezTo>
                    <a:pt x="534" y="750"/>
                    <a:pt x="534" y="741"/>
                    <a:pt x="535" y="733"/>
                  </a:cubicBezTo>
                  <a:cubicBezTo>
                    <a:pt x="536" y="728"/>
                    <a:pt x="537" y="722"/>
                    <a:pt x="537" y="717"/>
                  </a:cubicBezTo>
                  <a:cubicBezTo>
                    <a:pt x="537" y="715"/>
                    <a:pt x="537" y="710"/>
                    <a:pt x="538" y="709"/>
                  </a:cubicBezTo>
                  <a:cubicBezTo>
                    <a:pt x="537" y="710"/>
                    <a:pt x="545" y="727"/>
                    <a:pt x="546" y="729"/>
                  </a:cubicBezTo>
                  <a:cubicBezTo>
                    <a:pt x="549" y="739"/>
                    <a:pt x="549" y="749"/>
                    <a:pt x="550" y="760"/>
                  </a:cubicBezTo>
                  <a:cubicBezTo>
                    <a:pt x="550" y="769"/>
                    <a:pt x="551" y="778"/>
                    <a:pt x="553" y="787"/>
                  </a:cubicBezTo>
                  <a:cubicBezTo>
                    <a:pt x="555" y="799"/>
                    <a:pt x="553" y="810"/>
                    <a:pt x="555" y="822"/>
                  </a:cubicBezTo>
                  <a:cubicBezTo>
                    <a:pt x="556" y="836"/>
                    <a:pt x="554" y="848"/>
                    <a:pt x="554" y="862"/>
                  </a:cubicBezTo>
                  <a:cubicBezTo>
                    <a:pt x="553" y="874"/>
                    <a:pt x="555" y="887"/>
                    <a:pt x="557" y="899"/>
                  </a:cubicBezTo>
                  <a:cubicBezTo>
                    <a:pt x="558" y="908"/>
                    <a:pt x="559" y="916"/>
                    <a:pt x="562" y="925"/>
                  </a:cubicBezTo>
                  <a:cubicBezTo>
                    <a:pt x="566" y="936"/>
                    <a:pt x="565" y="952"/>
                    <a:pt x="566" y="964"/>
                  </a:cubicBezTo>
                  <a:cubicBezTo>
                    <a:pt x="566" y="978"/>
                    <a:pt x="572" y="989"/>
                    <a:pt x="573" y="1003"/>
                  </a:cubicBezTo>
                  <a:cubicBezTo>
                    <a:pt x="575" y="1015"/>
                    <a:pt x="575" y="1027"/>
                    <a:pt x="577" y="1038"/>
                  </a:cubicBezTo>
                  <a:cubicBezTo>
                    <a:pt x="579" y="1047"/>
                    <a:pt x="577" y="1053"/>
                    <a:pt x="575" y="1062"/>
                  </a:cubicBezTo>
                  <a:cubicBezTo>
                    <a:pt x="574" y="1072"/>
                    <a:pt x="580" y="1081"/>
                    <a:pt x="578" y="1090"/>
                  </a:cubicBezTo>
                  <a:cubicBezTo>
                    <a:pt x="578" y="1097"/>
                    <a:pt x="576" y="1103"/>
                    <a:pt x="576" y="1109"/>
                  </a:cubicBezTo>
                  <a:cubicBezTo>
                    <a:pt x="576" y="1115"/>
                    <a:pt x="578" y="1122"/>
                    <a:pt x="576" y="1127"/>
                  </a:cubicBezTo>
                  <a:cubicBezTo>
                    <a:pt x="574" y="1134"/>
                    <a:pt x="574" y="1136"/>
                    <a:pt x="578" y="1142"/>
                  </a:cubicBezTo>
                  <a:cubicBezTo>
                    <a:pt x="580" y="1144"/>
                    <a:pt x="584" y="1147"/>
                    <a:pt x="583" y="1150"/>
                  </a:cubicBezTo>
                  <a:cubicBezTo>
                    <a:pt x="582" y="1154"/>
                    <a:pt x="580" y="1158"/>
                    <a:pt x="578" y="1161"/>
                  </a:cubicBezTo>
                  <a:cubicBezTo>
                    <a:pt x="577" y="1163"/>
                    <a:pt x="571" y="1167"/>
                    <a:pt x="571" y="1167"/>
                  </a:cubicBezTo>
                  <a:cubicBezTo>
                    <a:pt x="571" y="1171"/>
                    <a:pt x="572" y="1173"/>
                    <a:pt x="568" y="1177"/>
                  </a:cubicBezTo>
                  <a:cubicBezTo>
                    <a:pt x="564" y="1180"/>
                    <a:pt x="565" y="1171"/>
                    <a:pt x="565" y="1169"/>
                  </a:cubicBezTo>
                  <a:moveTo>
                    <a:pt x="584" y="1252"/>
                  </a:moveTo>
                  <a:cubicBezTo>
                    <a:pt x="580" y="1259"/>
                    <a:pt x="583" y="1265"/>
                    <a:pt x="583" y="1271"/>
                  </a:cubicBezTo>
                  <a:cubicBezTo>
                    <a:pt x="583" y="1273"/>
                    <a:pt x="578" y="1289"/>
                    <a:pt x="579" y="1290"/>
                  </a:cubicBezTo>
                  <a:cubicBezTo>
                    <a:pt x="576" y="1288"/>
                    <a:pt x="576" y="1279"/>
                    <a:pt x="575" y="1276"/>
                  </a:cubicBezTo>
                  <a:cubicBezTo>
                    <a:pt x="574" y="1271"/>
                    <a:pt x="572" y="1266"/>
                    <a:pt x="572" y="1261"/>
                  </a:cubicBezTo>
                  <a:cubicBezTo>
                    <a:pt x="571" y="1257"/>
                    <a:pt x="569" y="1244"/>
                    <a:pt x="575" y="1242"/>
                  </a:cubicBezTo>
                  <a:cubicBezTo>
                    <a:pt x="577" y="1241"/>
                    <a:pt x="585" y="1249"/>
                    <a:pt x="584" y="1252"/>
                  </a:cubicBezTo>
                </a:path>
              </a:pathLst>
            </a:custGeom>
            <a:solidFill>
              <a:schemeClr val="tx1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  <p:txBody>
            <a:bodyPr lIns="428085" tIns="214043" rIns="428085" bIns="214043"/>
            <a:lstStyle/>
            <a:p>
              <a:pPr defTabSz="4280752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6000" kern="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grpSp>
          <p:nvGrpSpPr>
            <p:cNvPr id="512" name="Gruppieren 281">
              <a:extLst>
                <a:ext uri="{FF2B5EF4-FFF2-40B4-BE49-F238E27FC236}">
                  <a16:creationId xmlns:a16="http://schemas.microsoft.com/office/drawing/2014/main" id="{69F9D463-FC0F-482C-B0FD-A904B77AB04A}"/>
                </a:ext>
              </a:extLst>
            </p:cNvPr>
            <p:cNvGrpSpPr/>
            <p:nvPr/>
          </p:nvGrpSpPr>
          <p:grpSpPr>
            <a:xfrm>
              <a:off x="2739987" y="3833767"/>
              <a:ext cx="159492" cy="328959"/>
              <a:chOff x="2519371" y="955678"/>
              <a:chExt cx="1695457" cy="4968890"/>
            </a:xfrm>
            <a:solidFill>
              <a:schemeClr val="tx1"/>
            </a:solidFill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grpSpPr>
          <p:sp>
            <p:nvSpPr>
              <p:cNvPr id="513" name="Freeform 156">
                <a:extLst>
                  <a:ext uri="{FF2B5EF4-FFF2-40B4-BE49-F238E27FC236}">
                    <a16:creationId xmlns:a16="http://schemas.microsoft.com/office/drawing/2014/main" id="{5F640BA5-3ECE-4736-995E-ABD1FB57F28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84626" y="3435360"/>
                <a:ext cx="269878" cy="404813"/>
              </a:xfrm>
              <a:custGeom>
                <a:avLst/>
                <a:gdLst>
                  <a:gd name="T0" fmla="*/ 29 w 72"/>
                  <a:gd name="T1" fmla="*/ 0 h 108"/>
                  <a:gd name="T2" fmla="*/ 37 w 72"/>
                  <a:gd name="T3" fmla="*/ 0 h 108"/>
                  <a:gd name="T4" fmla="*/ 68 w 72"/>
                  <a:gd name="T5" fmla="*/ 6 h 108"/>
                  <a:gd name="T6" fmla="*/ 70 w 72"/>
                  <a:gd name="T7" fmla="*/ 58 h 108"/>
                  <a:gd name="T8" fmla="*/ 60 w 72"/>
                  <a:gd name="T9" fmla="*/ 78 h 108"/>
                  <a:gd name="T10" fmla="*/ 14 w 72"/>
                  <a:gd name="T11" fmla="*/ 108 h 108"/>
                  <a:gd name="T12" fmla="*/ 5 w 72"/>
                  <a:gd name="T13" fmla="*/ 102 h 108"/>
                  <a:gd name="T14" fmla="*/ 13 w 72"/>
                  <a:gd name="T15" fmla="*/ 80 h 108"/>
                  <a:gd name="T16" fmla="*/ 15 w 72"/>
                  <a:gd name="T17" fmla="*/ 6 h 108"/>
                  <a:gd name="T18" fmla="*/ 29 w 72"/>
                  <a:gd name="T19" fmla="*/ 0 h 108"/>
                  <a:gd name="T20" fmla="*/ 28 w 72"/>
                  <a:gd name="T21" fmla="*/ 81 h 108"/>
                  <a:gd name="T22" fmla="*/ 41 w 72"/>
                  <a:gd name="T23" fmla="*/ 53 h 108"/>
                  <a:gd name="T24" fmla="*/ 33 w 72"/>
                  <a:gd name="T25" fmla="*/ 51 h 108"/>
                  <a:gd name="T26" fmla="*/ 28 w 72"/>
                  <a:gd name="T27" fmla="*/ 81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2" h="108">
                    <a:moveTo>
                      <a:pt x="29" y="0"/>
                    </a:moveTo>
                    <a:cubicBezTo>
                      <a:pt x="32" y="0"/>
                      <a:pt x="34" y="0"/>
                      <a:pt x="37" y="0"/>
                    </a:cubicBezTo>
                    <a:cubicBezTo>
                      <a:pt x="45" y="3"/>
                      <a:pt x="60" y="2"/>
                      <a:pt x="68" y="6"/>
                    </a:cubicBezTo>
                    <a:cubicBezTo>
                      <a:pt x="67" y="23"/>
                      <a:pt x="72" y="43"/>
                      <a:pt x="70" y="58"/>
                    </a:cubicBezTo>
                    <a:cubicBezTo>
                      <a:pt x="68" y="65"/>
                      <a:pt x="63" y="72"/>
                      <a:pt x="60" y="78"/>
                    </a:cubicBezTo>
                    <a:cubicBezTo>
                      <a:pt x="49" y="98"/>
                      <a:pt x="39" y="102"/>
                      <a:pt x="14" y="108"/>
                    </a:cubicBezTo>
                    <a:cubicBezTo>
                      <a:pt x="17" y="101"/>
                      <a:pt x="5" y="107"/>
                      <a:pt x="5" y="102"/>
                    </a:cubicBezTo>
                    <a:cubicBezTo>
                      <a:pt x="0" y="90"/>
                      <a:pt x="6" y="87"/>
                      <a:pt x="13" y="80"/>
                    </a:cubicBezTo>
                    <a:cubicBezTo>
                      <a:pt x="15" y="57"/>
                      <a:pt x="13" y="28"/>
                      <a:pt x="15" y="6"/>
                    </a:cubicBezTo>
                    <a:cubicBezTo>
                      <a:pt x="20" y="3"/>
                      <a:pt x="29" y="6"/>
                      <a:pt x="29" y="0"/>
                    </a:cubicBezTo>
                    <a:close/>
                    <a:moveTo>
                      <a:pt x="28" y="81"/>
                    </a:moveTo>
                    <a:cubicBezTo>
                      <a:pt x="41" y="81"/>
                      <a:pt x="43" y="67"/>
                      <a:pt x="41" y="53"/>
                    </a:cubicBezTo>
                    <a:cubicBezTo>
                      <a:pt x="37" y="54"/>
                      <a:pt x="37" y="51"/>
                      <a:pt x="33" y="51"/>
                    </a:cubicBezTo>
                    <a:cubicBezTo>
                      <a:pt x="30" y="61"/>
                      <a:pt x="32" y="75"/>
                      <a:pt x="28" y="8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14" name="Freeform 159">
                <a:extLst>
                  <a:ext uri="{FF2B5EF4-FFF2-40B4-BE49-F238E27FC236}">
                    <a16:creationId xmlns:a16="http://schemas.microsoft.com/office/drawing/2014/main" id="{4300B925-9319-48BF-955E-7FF0E46200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9775" y="5519755"/>
                <a:ext cx="539752" cy="404813"/>
              </a:xfrm>
              <a:custGeom>
                <a:avLst/>
                <a:gdLst>
                  <a:gd name="T0" fmla="*/ 19 w 144"/>
                  <a:gd name="T1" fmla="*/ 0 h 108"/>
                  <a:gd name="T2" fmla="*/ 21 w 144"/>
                  <a:gd name="T3" fmla="*/ 0 h 108"/>
                  <a:gd name="T4" fmla="*/ 55 w 144"/>
                  <a:gd name="T5" fmla="*/ 19 h 108"/>
                  <a:gd name="T6" fmla="*/ 139 w 144"/>
                  <a:gd name="T7" fmla="*/ 47 h 108"/>
                  <a:gd name="T8" fmla="*/ 144 w 144"/>
                  <a:gd name="T9" fmla="*/ 62 h 108"/>
                  <a:gd name="T10" fmla="*/ 144 w 144"/>
                  <a:gd name="T11" fmla="*/ 66 h 108"/>
                  <a:gd name="T12" fmla="*/ 137 w 144"/>
                  <a:gd name="T13" fmla="*/ 88 h 108"/>
                  <a:gd name="T14" fmla="*/ 105 w 144"/>
                  <a:gd name="T15" fmla="*/ 91 h 108"/>
                  <a:gd name="T16" fmla="*/ 100 w 144"/>
                  <a:gd name="T17" fmla="*/ 103 h 108"/>
                  <a:gd name="T18" fmla="*/ 90 w 144"/>
                  <a:gd name="T19" fmla="*/ 108 h 108"/>
                  <a:gd name="T20" fmla="*/ 82 w 144"/>
                  <a:gd name="T21" fmla="*/ 108 h 108"/>
                  <a:gd name="T22" fmla="*/ 31 w 144"/>
                  <a:gd name="T23" fmla="*/ 100 h 108"/>
                  <a:gd name="T24" fmla="*/ 32 w 144"/>
                  <a:gd name="T25" fmla="*/ 73 h 108"/>
                  <a:gd name="T26" fmla="*/ 0 w 144"/>
                  <a:gd name="T27" fmla="*/ 65 h 108"/>
                  <a:gd name="T28" fmla="*/ 0 w 144"/>
                  <a:gd name="T29" fmla="*/ 51 h 108"/>
                  <a:gd name="T30" fmla="*/ 11 w 144"/>
                  <a:gd name="T31" fmla="*/ 12 h 108"/>
                  <a:gd name="T32" fmla="*/ 19 w 144"/>
                  <a:gd name="T33" fmla="*/ 0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4" h="108">
                    <a:moveTo>
                      <a:pt x="19" y="0"/>
                    </a:moveTo>
                    <a:cubicBezTo>
                      <a:pt x="19" y="0"/>
                      <a:pt x="20" y="0"/>
                      <a:pt x="21" y="0"/>
                    </a:cubicBezTo>
                    <a:cubicBezTo>
                      <a:pt x="33" y="7"/>
                      <a:pt x="45" y="13"/>
                      <a:pt x="55" y="19"/>
                    </a:cubicBezTo>
                    <a:cubicBezTo>
                      <a:pt x="92" y="2"/>
                      <a:pt x="120" y="31"/>
                      <a:pt x="139" y="47"/>
                    </a:cubicBezTo>
                    <a:cubicBezTo>
                      <a:pt x="141" y="52"/>
                      <a:pt x="141" y="58"/>
                      <a:pt x="144" y="62"/>
                    </a:cubicBezTo>
                    <a:cubicBezTo>
                      <a:pt x="144" y="63"/>
                      <a:pt x="144" y="65"/>
                      <a:pt x="144" y="66"/>
                    </a:cubicBezTo>
                    <a:cubicBezTo>
                      <a:pt x="142" y="75"/>
                      <a:pt x="141" y="83"/>
                      <a:pt x="137" y="88"/>
                    </a:cubicBezTo>
                    <a:cubicBezTo>
                      <a:pt x="124" y="87"/>
                      <a:pt x="117" y="91"/>
                      <a:pt x="105" y="91"/>
                    </a:cubicBezTo>
                    <a:cubicBezTo>
                      <a:pt x="99" y="91"/>
                      <a:pt x="104" y="101"/>
                      <a:pt x="100" y="103"/>
                    </a:cubicBezTo>
                    <a:cubicBezTo>
                      <a:pt x="96" y="105"/>
                      <a:pt x="91" y="106"/>
                      <a:pt x="90" y="108"/>
                    </a:cubicBezTo>
                    <a:cubicBezTo>
                      <a:pt x="87" y="108"/>
                      <a:pt x="84" y="108"/>
                      <a:pt x="82" y="108"/>
                    </a:cubicBezTo>
                    <a:cubicBezTo>
                      <a:pt x="66" y="105"/>
                      <a:pt x="41" y="108"/>
                      <a:pt x="31" y="100"/>
                    </a:cubicBezTo>
                    <a:cubicBezTo>
                      <a:pt x="27" y="90"/>
                      <a:pt x="33" y="85"/>
                      <a:pt x="32" y="73"/>
                    </a:cubicBezTo>
                    <a:cubicBezTo>
                      <a:pt x="23" y="75"/>
                      <a:pt x="8" y="71"/>
                      <a:pt x="0" y="65"/>
                    </a:cubicBezTo>
                    <a:cubicBezTo>
                      <a:pt x="0" y="61"/>
                      <a:pt x="0" y="56"/>
                      <a:pt x="0" y="51"/>
                    </a:cubicBezTo>
                    <a:cubicBezTo>
                      <a:pt x="6" y="39"/>
                      <a:pt x="14" y="27"/>
                      <a:pt x="11" y="12"/>
                    </a:cubicBezTo>
                    <a:cubicBezTo>
                      <a:pt x="11" y="7"/>
                      <a:pt x="18" y="6"/>
                      <a:pt x="19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15" name="Freeform 160">
                <a:extLst>
                  <a:ext uri="{FF2B5EF4-FFF2-40B4-BE49-F238E27FC236}">
                    <a16:creationId xmlns:a16="http://schemas.microsoft.com/office/drawing/2014/main" id="{54CF97D2-B499-405C-AE95-EEB5CE58A9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014673"/>
                <a:ext cx="1109668" cy="2805120"/>
              </a:xfrm>
              <a:custGeom>
                <a:avLst/>
                <a:gdLst>
                  <a:gd name="T0" fmla="*/ 0 w 296"/>
                  <a:gd name="T1" fmla="*/ 188 h 748"/>
                  <a:gd name="T2" fmla="*/ 0 w 296"/>
                  <a:gd name="T3" fmla="*/ 183 h 748"/>
                  <a:gd name="T4" fmla="*/ 12 w 296"/>
                  <a:gd name="T5" fmla="*/ 166 h 748"/>
                  <a:gd name="T6" fmla="*/ 103 w 296"/>
                  <a:gd name="T7" fmla="*/ 169 h 748"/>
                  <a:gd name="T8" fmla="*/ 143 w 296"/>
                  <a:gd name="T9" fmla="*/ 9 h 748"/>
                  <a:gd name="T10" fmla="*/ 191 w 296"/>
                  <a:gd name="T11" fmla="*/ 11 h 748"/>
                  <a:gd name="T12" fmla="*/ 225 w 296"/>
                  <a:gd name="T13" fmla="*/ 112 h 748"/>
                  <a:gd name="T14" fmla="*/ 245 w 296"/>
                  <a:gd name="T15" fmla="*/ 133 h 748"/>
                  <a:gd name="T16" fmla="*/ 268 w 296"/>
                  <a:gd name="T17" fmla="*/ 153 h 748"/>
                  <a:gd name="T18" fmla="*/ 296 w 296"/>
                  <a:gd name="T19" fmla="*/ 153 h 748"/>
                  <a:gd name="T20" fmla="*/ 275 w 296"/>
                  <a:gd name="T21" fmla="*/ 276 h 748"/>
                  <a:gd name="T22" fmla="*/ 268 w 296"/>
                  <a:gd name="T23" fmla="*/ 288 h 748"/>
                  <a:gd name="T24" fmla="*/ 264 w 296"/>
                  <a:gd name="T25" fmla="*/ 303 h 748"/>
                  <a:gd name="T26" fmla="*/ 253 w 296"/>
                  <a:gd name="T27" fmla="*/ 328 h 748"/>
                  <a:gd name="T28" fmla="*/ 256 w 296"/>
                  <a:gd name="T29" fmla="*/ 354 h 748"/>
                  <a:gd name="T30" fmla="*/ 252 w 296"/>
                  <a:gd name="T31" fmla="*/ 418 h 748"/>
                  <a:gd name="T32" fmla="*/ 249 w 296"/>
                  <a:gd name="T33" fmla="*/ 514 h 748"/>
                  <a:gd name="T34" fmla="*/ 237 w 296"/>
                  <a:gd name="T35" fmla="*/ 577 h 748"/>
                  <a:gd name="T36" fmla="*/ 223 w 296"/>
                  <a:gd name="T37" fmla="*/ 604 h 748"/>
                  <a:gd name="T38" fmla="*/ 215 w 296"/>
                  <a:gd name="T39" fmla="*/ 633 h 748"/>
                  <a:gd name="T40" fmla="*/ 207 w 296"/>
                  <a:gd name="T41" fmla="*/ 662 h 748"/>
                  <a:gd name="T42" fmla="*/ 222 w 296"/>
                  <a:gd name="T43" fmla="*/ 707 h 748"/>
                  <a:gd name="T44" fmla="*/ 182 w 296"/>
                  <a:gd name="T45" fmla="*/ 689 h 748"/>
                  <a:gd name="T46" fmla="*/ 122 w 296"/>
                  <a:gd name="T47" fmla="*/ 748 h 748"/>
                  <a:gd name="T48" fmla="*/ 114 w 296"/>
                  <a:gd name="T49" fmla="*/ 677 h 748"/>
                  <a:gd name="T50" fmla="*/ 97 w 296"/>
                  <a:gd name="T51" fmla="*/ 672 h 748"/>
                  <a:gd name="T52" fmla="*/ 97 w 296"/>
                  <a:gd name="T53" fmla="*/ 609 h 748"/>
                  <a:gd name="T54" fmla="*/ 86 w 296"/>
                  <a:gd name="T55" fmla="*/ 588 h 748"/>
                  <a:gd name="T56" fmla="*/ 64 w 296"/>
                  <a:gd name="T57" fmla="*/ 525 h 748"/>
                  <a:gd name="T58" fmla="*/ 35 w 296"/>
                  <a:gd name="T59" fmla="*/ 383 h 748"/>
                  <a:gd name="T60" fmla="*/ 19 w 296"/>
                  <a:gd name="T61" fmla="*/ 285 h 748"/>
                  <a:gd name="T62" fmla="*/ 0 w 296"/>
                  <a:gd name="T63" fmla="*/ 188 h 7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96" h="748">
                    <a:moveTo>
                      <a:pt x="0" y="188"/>
                    </a:moveTo>
                    <a:cubicBezTo>
                      <a:pt x="0" y="186"/>
                      <a:pt x="0" y="185"/>
                      <a:pt x="0" y="183"/>
                    </a:cubicBezTo>
                    <a:cubicBezTo>
                      <a:pt x="6" y="178"/>
                      <a:pt x="6" y="168"/>
                      <a:pt x="12" y="166"/>
                    </a:cubicBezTo>
                    <a:cubicBezTo>
                      <a:pt x="37" y="176"/>
                      <a:pt x="73" y="176"/>
                      <a:pt x="103" y="169"/>
                    </a:cubicBezTo>
                    <a:cubicBezTo>
                      <a:pt x="116" y="117"/>
                      <a:pt x="127" y="60"/>
                      <a:pt x="143" y="9"/>
                    </a:cubicBezTo>
                    <a:cubicBezTo>
                      <a:pt x="158" y="0"/>
                      <a:pt x="177" y="2"/>
                      <a:pt x="191" y="11"/>
                    </a:cubicBezTo>
                    <a:cubicBezTo>
                      <a:pt x="204" y="36"/>
                      <a:pt x="210" y="83"/>
                      <a:pt x="225" y="112"/>
                    </a:cubicBezTo>
                    <a:cubicBezTo>
                      <a:pt x="229" y="119"/>
                      <a:pt x="237" y="125"/>
                      <a:pt x="245" y="133"/>
                    </a:cubicBezTo>
                    <a:cubicBezTo>
                      <a:pt x="252" y="140"/>
                      <a:pt x="260" y="152"/>
                      <a:pt x="268" y="153"/>
                    </a:cubicBezTo>
                    <a:cubicBezTo>
                      <a:pt x="277" y="155"/>
                      <a:pt x="286" y="149"/>
                      <a:pt x="296" y="153"/>
                    </a:cubicBezTo>
                    <a:cubicBezTo>
                      <a:pt x="291" y="195"/>
                      <a:pt x="275" y="228"/>
                      <a:pt x="275" y="276"/>
                    </a:cubicBezTo>
                    <a:cubicBezTo>
                      <a:pt x="273" y="281"/>
                      <a:pt x="269" y="281"/>
                      <a:pt x="268" y="288"/>
                    </a:cubicBezTo>
                    <a:cubicBezTo>
                      <a:pt x="265" y="291"/>
                      <a:pt x="265" y="298"/>
                      <a:pt x="264" y="303"/>
                    </a:cubicBezTo>
                    <a:cubicBezTo>
                      <a:pt x="261" y="312"/>
                      <a:pt x="253" y="318"/>
                      <a:pt x="253" y="328"/>
                    </a:cubicBezTo>
                    <a:cubicBezTo>
                      <a:pt x="252" y="336"/>
                      <a:pt x="256" y="345"/>
                      <a:pt x="256" y="354"/>
                    </a:cubicBezTo>
                    <a:cubicBezTo>
                      <a:pt x="258" y="380"/>
                      <a:pt x="258" y="399"/>
                      <a:pt x="252" y="418"/>
                    </a:cubicBezTo>
                    <a:cubicBezTo>
                      <a:pt x="266" y="448"/>
                      <a:pt x="257" y="479"/>
                      <a:pt x="249" y="514"/>
                    </a:cubicBezTo>
                    <a:cubicBezTo>
                      <a:pt x="245" y="536"/>
                      <a:pt x="243" y="559"/>
                      <a:pt x="237" y="577"/>
                    </a:cubicBezTo>
                    <a:cubicBezTo>
                      <a:pt x="233" y="586"/>
                      <a:pt x="227" y="595"/>
                      <a:pt x="223" y="604"/>
                    </a:cubicBezTo>
                    <a:cubicBezTo>
                      <a:pt x="220" y="611"/>
                      <a:pt x="218" y="623"/>
                      <a:pt x="215" y="633"/>
                    </a:cubicBezTo>
                    <a:cubicBezTo>
                      <a:pt x="212" y="644"/>
                      <a:pt x="207" y="656"/>
                      <a:pt x="207" y="662"/>
                    </a:cubicBezTo>
                    <a:cubicBezTo>
                      <a:pt x="208" y="675"/>
                      <a:pt x="224" y="690"/>
                      <a:pt x="222" y="707"/>
                    </a:cubicBezTo>
                    <a:cubicBezTo>
                      <a:pt x="203" y="705"/>
                      <a:pt x="197" y="690"/>
                      <a:pt x="182" y="689"/>
                    </a:cubicBezTo>
                    <a:cubicBezTo>
                      <a:pt x="141" y="688"/>
                      <a:pt x="137" y="726"/>
                      <a:pt x="122" y="748"/>
                    </a:cubicBezTo>
                    <a:cubicBezTo>
                      <a:pt x="120" y="724"/>
                      <a:pt x="115" y="702"/>
                      <a:pt x="114" y="677"/>
                    </a:cubicBezTo>
                    <a:cubicBezTo>
                      <a:pt x="108" y="676"/>
                      <a:pt x="99" y="684"/>
                      <a:pt x="97" y="672"/>
                    </a:cubicBezTo>
                    <a:cubicBezTo>
                      <a:pt x="64" y="661"/>
                      <a:pt x="98" y="627"/>
                      <a:pt x="97" y="609"/>
                    </a:cubicBezTo>
                    <a:cubicBezTo>
                      <a:pt x="97" y="602"/>
                      <a:pt x="90" y="595"/>
                      <a:pt x="86" y="588"/>
                    </a:cubicBezTo>
                    <a:cubicBezTo>
                      <a:pt x="74" y="569"/>
                      <a:pt x="70" y="549"/>
                      <a:pt x="64" y="525"/>
                    </a:cubicBezTo>
                    <a:cubicBezTo>
                      <a:pt x="52" y="479"/>
                      <a:pt x="45" y="432"/>
                      <a:pt x="35" y="383"/>
                    </a:cubicBezTo>
                    <a:cubicBezTo>
                      <a:pt x="28" y="351"/>
                      <a:pt x="22" y="318"/>
                      <a:pt x="19" y="285"/>
                    </a:cubicBezTo>
                    <a:cubicBezTo>
                      <a:pt x="18" y="251"/>
                      <a:pt x="7" y="214"/>
                      <a:pt x="0" y="188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16" name="Freeform 179">
                <a:extLst>
                  <a:ext uri="{FF2B5EF4-FFF2-40B4-BE49-F238E27FC236}">
                    <a16:creationId xmlns:a16="http://schemas.microsoft.com/office/drawing/2014/main" id="{2174692F-E26C-494D-B7F7-293013D6E5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4413" y="3113098"/>
                <a:ext cx="452441" cy="569916"/>
              </a:xfrm>
              <a:custGeom>
                <a:avLst/>
                <a:gdLst>
                  <a:gd name="T0" fmla="*/ 0 w 285"/>
                  <a:gd name="T1" fmla="*/ 0 h 359"/>
                  <a:gd name="T2" fmla="*/ 14 w 285"/>
                  <a:gd name="T3" fmla="*/ 96 h 359"/>
                  <a:gd name="T4" fmla="*/ 108 w 285"/>
                  <a:gd name="T5" fmla="*/ 330 h 359"/>
                  <a:gd name="T6" fmla="*/ 285 w 285"/>
                  <a:gd name="T7" fmla="*/ 359 h 359"/>
                  <a:gd name="T8" fmla="*/ 285 w 285"/>
                  <a:gd name="T9" fmla="*/ 311 h 359"/>
                  <a:gd name="T10" fmla="*/ 0 w 285"/>
                  <a:gd name="T11" fmla="*/ 0 h 3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5" h="359">
                    <a:moveTo>
                      <a:pt x="0" y="0"/>
                    </a:moveTo>
                    <a:lnTo>
                      <a:pt x="14" y="96"/>
                    </a:lnTo>
                    <a:lnTo>
                      <a:pt x="108" y="330"/>
                    </a:lnTo>
                    <a:lnTo>
                      <a:pt x="285" y="359"/>
                    </a:lnTo>
                    <a:lnTo>
                      <a:pt x="285" y="31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17" name="Freeform 180">
                <a:extLst>
                  <a:ext uri="{FF2B5EF4-FFF2-40B4-BE49-F238E27FC236}">
                    <a16:creationId xmlns:a16="http://schemas.microsoft.com/office/drawing/2014/main" id="{A7AEE2A0-1034-407C-995B-555CAE5260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146435"/>
                <a:ext cx="592139" cy="619126"/>
              </a:xfrm>
              <a:custGeom>
                <a:avLst/>
                <a:gdLst>
                  <a:gd name="T0" fmla="*/ 158 w 158"/>
                  <a:gd name="T1" fmla="*/ 0 h 165"/>
                  <a:gd name="T2" fmla="*/ 158 w 158"/>
                  <a:gd name="T3" fmla="*/ 80 h 165"/>
                  <a:gd name="T4" fmla="*/ 113 w 158"/>
                  <a:gd name="T5" fmla="*/ 158 h 165"/>
                  <a:gd name="T6" fmla="*/ 23 w 158"/>
                  <a:gd name="T7" fmla="*/ 156 h 165"/>
                  <a:gd name="T8" fmla="*/ 0 w 158"/>
                  <a:gd name="T9" fmla="*/ 148 h 165"/>
                  <a:gd name="T10" fmla="*/ 87 w 158"/>
                  <a:gd name="T11" fmla="*/ 137 h 165"/>
                  <a:gd name="T12" fmla="*/ 158 w 158"/>
                  <a:gd name="T13" fmla="*/ 0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8" h="165">
                    <a:moveTo>
                      <a:pt x="158" y="0"/>
                    </a:moveTo>
                    <a:cubicBezTo>
                      <a:pt x="158" y="80"/>
                      <a:pt x="158" y="80"/>
                      <a:pt x="158" y="80"/>
                    </a:cubicBezTo>
                    <a:cubicBezTo>
                      <a:pt x="158" y="80"/>
                      <a:pt x="139" y="165"/>
                      <a:pt x="113" y="158"/>
                    </a:cubicBezTo>
                    <a:cubicBezTo>
                      <a:pt x="87" y="152"/>
                      <a:pt x="26" y="157"/>
                      <a:pt x="23" y="156"/>
                    </a:cubicBezTo>
                    <a:cubicBezTo>
                      <a:pt x="20" y="156"/>
                      <a:pt x="0" y="148"/>
                      <a:pt x="0" y="148"/>
                    </a:cubicBezTo>
                    <a:cubicBezTo>
                      <a:pt x="0" y="148"/>
                      <a:pt x="82" y="138"/>
                      <a:pt x="87" y="137"/>
                    </a:cubicBezTo>
                    <a:cubicBezTo>
                      <a:pt x="92" y="136"/>
                      <a:pt x="158" y="0"/>
                      <a:pt x="1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18" name="Freeform 181">
                <a:extLst>
                  <a:ext uri="{FF2B5EF4-FFF2-40B4-BE49-F238E27FC236}">
                    <a16:creationId xmlns:a16="http://schemas.microsoft.com/office/drawing/2014/main" id="{8E655874-C088-4E86-BDAA-4FE491247B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9813" y="3446473"/>
                <a:ext cx="63501" cy="423863"/>
              </a:xfrm>
              <a:custGeom>
                <a:avLst/>
                <a:gdLst>
                  <a:gd name="T0" fmla="*/ 0 w 40"/>
                  <a:gd name="T1" fmla="*/ 0 h 267"/>
                  <a:gd name="T2" fmla="*/ 0 w 40"/>
                  <a:gd name="T3" fmla="*/ 267 h 267"/>
                  <a:gd name="T4" fmla="*/ 40 w 40"/>
                  <a:gd name="T5" fmla="*/ 260 h 267"/>
                  <a:gd name="T6" fmla="*/ 0 w 40"/>
                  <a:gd name="T7" fmla="*/ 0 h 2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0" h="267">
                    <a:moveTo>
                      <a:pt x="0" y="0"/>
                    </a:moveTo>
                    <a:lnTo>
                      <a:pt x="0" y="267"/>
                    </a:lnTo>
                    <a:lnTo>
                      <a:pt x="40" y="26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19" name="Freeform 182">
                <a:extLst>
                  <a:ext uri="{FF2B5EF4-FFF2-40B4-BE49-F238E27FC236}">
                    <a16:creationId xmlns:a16="http://schemas.microsoft.com/office/drawing/2014/main" id="{BED6AFAC-484D-4491-AB15-FB3135E0ED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48036" y="3884623"/>
                <a:ext cx="217490" cy="1497016"/>
              </a:xfrm>
              <a:custGeom>
                <a:avLst/>
                <a:gdLst>
                  <a:gd name="T0" fmla="*/ 58 w 58"/>
                  <a:gd name="T1" fmla="*/ 0 h 399"/>
                  <a:gd name="T2" fmla="*/ 6 w 58"/>
                  <a:gd name="T3" fmla="*/ 369 h 399"/>
                  <a:gd name="T4" fmla="*/ 0 w 58"/>
                  <a:gd name="T5" fmla="*/ 399 h 399"/>
                  <a:gd name="T6" fmla="*/ 34 w 58"/>
                  <a:gd name="T7" fmla="*/ 312 h 399"/>
                  <a:gd name="T8" fmla="*/ 29 w 58"/>
                  <a:gd name="T9" fmla="*/ 255 h 399"/>
                  <a:gd name="T10" fmla="*/ 48 w 58"/>
                  <a:gd name="T11" fmla="*/ 139 h 399"/>
                  <a:gd name="T12" fmla="*/ 58 w 58"/>
                  <a:gd name="T13" fmla="*/ 0 h 3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8" h="399">
                    <a:moveTo>
                      <a:pt x="58" y="0"/>
                    </a:moveTo>
                    <a:cubicBezTo>
                      <a:pt x="6" y="369"/>
                      <a:pt x="6" y="369"/>
                      <a:pt x="6" y="369"/>
                    </a:cubicBezTo>
                    <a:cubicBezTo>
                      <a:pt x="0" y="399"/>
                      <a:pt x="0" y="399"/>
                      <a:pt x="0" y="399"/>
                    </a:cubicBezTo>
                    <a:cubicBezTo>
                      <a:pt x="0" y="399"/>
                      <a:pt x="36" y="342"/>
                      <a:pt x="34" y="312"/>
                    </a:cubicBezTo>
                    <a:cubicBezTo>
                      <a:pt x="32" y="282"/>
                      <a:pt x="28" y="282"/>
                      <a:pt x="29" y="255"/>
                    </a:cubicBezTo>
                    <a:cubicBezTo>
                      <a:pt x="31" y="227"/>
                      <a:pt x="46" y="145"/>
                      <a:pt x="48" y="139"/>
                    </a:cubicBezTo>
                    <a:cubicBezTo>
                      <a:pt x="50" y="132"/>
                      <a:pt x="58" y="0"/>
                      <a:pt x="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20" name="Freeform 183">
                <a:extLst>
                  <a:ext uri="{FF2B5EF4-FFF2-40B4-BE49-F238E27FC236}">
                    <a16:creationId xmlns:a16="http://schemas.microsoft.com/office/drawing/2014/main" id="{E95F4FC4-98B6-4E5B-955E-B4AB1F94E5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3802" y="4038612"/>
                <a:ext cx="231777" cy="385763"/>
              </a:xfrm>
              <a:custGeom>
                <a:avLst/>
                <a:gdLst>
                  <a:gd name="T0" fmla="*/ 62 w 62"/>
                  <a:gd name="T1" fmla="*/ 0 h 103"/>
                  <a:gd name="T2" fmla="*/ 35 w 62"/>
                  <a:gd name="T3" fmla="*/ 31 h 103"/>
                  <a:gd name="T4" fmla="*/ 27 w 62"/>
                  <a:gd name="T5" fmla="*/ 66 h 103"/>
                  <a:gd name="T6" fmla="*/ 6 w 62"/>
                  <a:gd name="T7" fmla="*/ 79 h 103"/>
                  <a:gd name="T8" fmla="*/ 23 w 62"/>
                  <a:gd name="T9" fmla="*/ 30 h 103"/>
                  <a:gd name="T10" fmla="*/ 62 w 62"/>
                  <a:gd name="T11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2" h="103">
                    <a:moveTo>
                      <a:pt x="62" y="0"/>
                    </a:moveTo>
                    <a:cubicBezTo>
                      <a:pt x="62" y="0"/>
                      <a:pt x="37" y="20"/>
                      <a:pt x="35" y="31"/>
                    </a:cubicBezTo>
                    <a:cubicBezTo>
                      <a:pt x="33" y="42"/>
                      <a:pt x="25" y="75"/>
                      <a:pt x="27" y="66"/>
                    </a:cubicBezTo>
                    <a:cubicBezTo>
                      <a:pt x="28" y="58"/>
                      <a:pt x="0" y="103"/>
                      <a:pt x="6" y="79"/>
                    </a:cubicBezTo>
                    <a:cubicBezTo>
                      <a:pt x="12" y="55"/>
                      <a:pt x="14" y="48"/>
                      <a:pt x="23" y="30"/>
                    </a:cubicBezTo>
                    <a:cubicBezTo>
                      <a:pt x="33" y="12"/>
                      <a:pt x="62" y="0"/>
                      <a:pt x="62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21" name="Freeform 184">
                <a:extLst>
                  <a:ext uri="{FF2B5EF4-FFF2-40B4-BE49-F238E27FC236}">
                    <a16:creationId xmlns:a16="http://schemas.microsoft.com/office/drawing/2014/main" id="{AC42B480-2123-48FA-B934-E798620EC5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5862" y="4581537"/>
                <a:ext cx="153989" cy="434977"/>
              </a:xfrm>
              <a:custGeom>
                <a:avLst/>
                <a:gdLst>
                  <a:gd name="T0" fmla="*/ 41 w 41"/>
                  <a:gd name="T1" fmla="*/ 0 h 116"/>
                  <a:gd name="T2" fmla="*/ 25 w 41"/>
                  <a:gd name="T3" fmla="*/ 47 h 116"/>
                  <a:gd name="T4" fmla="*/ 7 w 41"/>
                  <a:gd name="T5" fmla="*/ 85 h 116"/>
                  <a:gd name="T6" fmla="*/ 36 w 41"/>
                  <a:gd name="T7" fmla="*/ 0 h 116"/>
                  <a:gd name="T8" fmla="*/ 41 w 41"/>
                  <a:gd name="T9" fmla="*/ 0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116">
                    <a:moveTo>
                      <a:pt x="41" y="0"/>
                    </a:moveTo>
                    <a:cubicBezTo>
                      <a:pt x="38" y="8"/>
                      <a:pt x="33" y="18"/>
                      <a:pt x="25" y="47"/>
                    </a:cubicBezTo>
                    <a:cubicBezTo>
                      <a:pt x="17" y="75"/>
                      <a:pt x="0" y="116"/>
                      <a:pt x="7" y="85"/>
                    </a:cubicBezTo>
                    <a:cubicBezTo>
                      <a:pt x="15" y="53"/>
                      <a:pt x="31" y="0"/>
                      <a:pt x="36" y="0"/>
                    </a:cubicBezTo>
                    <a:cubicBezTo>
                      <a:pt x="41" y="0"/>
                      <a:pt x="41" y="0"/>
                      <a:pt x="41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22" name="Freeform 185">
                <a:extLst>
                  <a:ext uri="{FF2B5EF4-FFF2-40B4-BE49-F238E27FC236}">
                    <a16:creationId xmlns:a16="http://schemas.microsoft.com/office/drawing/2014/main" id="{175260A9-4775-4364-AD30-6A2641EDBF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5988" y="5470541"/>
                <a:ext cx="274638" cy="165099"/>
              </a:xfrm>
              <a:custGeom>
                <a:avLst/>
                <a:gdLst>
                  <a:gd name="T0" fmla="*/ 0 w 73"/>
                  <a:gd name="T1" fmla="*/ 41 h 44"/>
                  <a:gd name="T2" fmla="*/ 37 w 73"/>
                  <a:gd name="T3" fmla="*/ 29 h 44"/>
                  <a:gd name="T4" fmla="*/ 68 w 73"/>
                  <a:gd name="T5" fmla="*/ 29 h 44"/>
                  <a:gd name="T6" fmla="*/ 50 w 73"/>
                  <a:gd name="T7" fmla="*/ 0 h 44"/>
                  <a:gd name="T8" fmla="*/ 0 w 73"/>
                  <a:gd name="T9" fmla="*/ 41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3" h="44">
                    <a:moveTo>
                      <a:pt x="0" y="41"/>
                    </a:moveTo>
                    <a:cubicBezTo>
                      <a:pt x="0" y="41"/>
                      <a:pt x="8" y="27"/>
                      <a:pt x="37" y="29"/>
                    </a:cubicBezTo>
                    <a:cubicBezTo>
                      <a:pt x="65" y="31"/>
                      <a:pt x="66" y="44"/>
                      <a:pt x="68" y="29"/>
                    </a:cubicBezTo>
                    <a:cubicBezTo>
                      <a:pt x="70" y="14"/>
                      <a:pt x="73" y="0"/>
                      <a:pt x="50" y="0"/>
                    </a:cubicBezTo>
                    <a:cubicBezTo>
                      <a:pt x="27" y="0"/>
                      <a:pt x="0" y="41"/>
                      <a:pt x="0" y="4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23" name="Freeform 186">
                <a:extLst>
                  <a:ext uri="{FF2B5EF4-FFF2-40B4-BE49-F238E27FC236}">
                    <a16:creationId xmlns:a16="http://schemas.microsoft.com/office/drawing/2014/main" id="{719B6A22-E8A5-4B2C-A782-B20B1DE06A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5111766"/>
                <a:ext cx="139699" cy="265114"/>
              </a:xfrm>
              <a:custGeom>
                <a:avLst/>
                <a:gdLst>
                  <a:gd name="T0" fmla="*/ 16 w 37"/>
                  <a:gd name="T1" fmla="*/ 2 h 71"/>
                  <a:gd name="T2" fmla="*/ 31 w 37"/>
                  <a:gd name="T3" fmla="*/ 31 h 71"/>
                  <a:gd name="T4" fmla="*/ 24 w 37"/>
                  <a:gd name="T5" fmla="*/ 42 h 71"/>
                  <a:gd name="T6" fmla="*/ 3 w 37"/>
                  <a:gd name="T7" fmla="*/ 7 h 71"/>
                  <a:gd name="T8" fmla="*/ 16 w 37"/>
                  <a:gd name="T9" fmla="*/ 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71">
                    <a:moveTo>
                      <a:pt x="16" y="2"/>
                    </a:moveTo>
                    <a:cubicBezTo>
                      <a:pt x="24" y="6"/>
                      <a:pt x="32" y="19"/>
                      <a:pt x="31" y="31"/>
                    </a:cubicBezTo>
                    <a:cubicBezTo>
                      <a:pt x="30" y="43"/>
                      <a:pt x="37" y="71"/>
                      <a:pt x="24" y="42"/>
                    </a:cubicBezTo>
                    <a:cubicBezTo>
                      <a:pt x="11" y="14"/>
                      <a:pt x="0" y="14"/>
                      <a:pt x="3" y="7"/>
                    </a:cubicBezTo>
                    <a:cubicBezTo>
                      <a:pt x="6" y="0"/>
                      <a:pt x="16" y="2"/>
                      <a:pt x="16" y="2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24" name="Freeform 187">
                <a:extLst>
                  <a:ext uri="{FF2B5EF4-FFF2-40B4-BE49-F238E27FC236}">
                    <a16:creationId xmlns:a16="http://schemas.microsoft.com/office/drawing/2014/main" id="{88B21E62-1016-44C3-9474-B6BC31DEAE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4" y="4159261"/>
                <a:ext cx="322265" cy="741365"/>
              </a:xfrm>
              <a:custGeom>
                <a:avLst/>
                <a:gdLst>
                  <a:gd name="T0" fmla="*/ 0 w 86"/>
                  <a:gd name="T1" fmla="*/ 0 h 198"/>
                  <a:gd name="T2" fmla="*/ 38 w 86"/>
                  <a:gd name="T3" fmla="*/ 16 h 198"/>
                  <a:gd name="T4" fmla="*/ 51 w 86"/>
                  <a:gd name="T5" fmla="*/ 54 h 198"/>
                  <a:gd name="T6" fmla="*/ 36 w 86"/>
                  <a:gd name="T7" fmla="*/ 54 h 198"/>
                  <a:gd name="T8" fmla="*/ 70 w 86"/>
                  <a:gd name="T9" fmla="*/ 161 h 198"/>
                  <a:gd name="T10" fmla="*/ 37 w 86"/>
                  <a:gd name="T11" fmla="*/ 132 h 198"/>
                  <a:gd name="T12" fmla="*/ 36 w 86"/>
                  <a:gd name="T13" fmla="*/ 198 h 198"/>
                  <a:gd name="T14" fmla="*/ 16 w 86"/>
                  <a:gd name="T15" fmla="*/ 96 h 198"/>
                  <a:gd name="T16" fmla="*/ 0 w 86"/>
                  <a:gd name="T17" fmla="*/ 28 h 198"/>
                  <a:gd name="T18" fmla="*/ 0 w 86"/>
                  <a:gd name="T19" fmla="*/ 0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6" h="198">
                    <a:moveTo>
                      <a:pt x="0" y="0"/>
                    </a:moveTo>
                    <a:cubicBezTo>
                      <a:pt x="0" y="0"/>
                      <a:pt x="32" y="2"/>
                      <a:pt x="38" y="16"/>
                    </a:cubicBezTo>
                    <a:cubicBezTo>
                      <a:pt x="44" y="31"/>
                      <a:pt x="66" y="67"/>
                      <a:pt x="51" y="54"/>
                    </a:cubicBezTo>
                    <a:cubicBezTo>
                      <a:pt x="36" y="41"/>
                      <a:pt x="17" y="24"/>
                      <a:pt x="36" y="54"/>
                    </a:cubicBezTo>
                    <a:cubicBezTo>
                      <a:pt x="54" y="84"/>
                      <a:pt x="86" y="181"/>
                      <a:pt x="70" y="161"/>
                    </a:cubicBezTo>
                    <a:cubicBezTo>
                      <a:pt x="55" y="141"/>
                      <a:pt x="39" y="108"/>
                      <a:pt x="37" y="132"/>
                    </a:cubicBezTo>
                    <a:cubicBezTo>
                      <a:pt x="36" y="156"/>
                      <a:pt x="36" y="198"/>
                      <a:pt x="36" y="198"/>
                    </a:cubicBezTo>
                    <a:cubicBezTo>
                      <a:pt x="16" y="96"/>
                      <a:pt x="16" y="96"/>
                      <a:pt x="16" y="96"/>
                    </a:cubicBezTo>
                    <a:cubicBezTo>
                      <a:pt x="0" y="28"/>
                      <a:pt x="0" y="28"/>
                      <a:pt x="0" y="28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25" name="Freeform 157">
                <a:extLst>
                  <a:ext uri="{FF2B5EF4-FFF2-40B4-BE49-F238E27FC236}">
                    <a16:creationId xmlns:a16="http://schemas.microsoft.com/office/drawing/2014/main" id="{9B06D8FD-C62F-4986-B263-C30742E1C7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5160" y="960441"/>
                <a:ext cx="584203" cy="1049339"/>
              </a:xfrm>
              <a:custGeom>
                <a:avLst/>
                <a:gdLst>
                  <a:gd name="T0" fmla="*/ 0 w 156"/>
                  <a:gd name="T1" fmla="*/ 112 h 280"/>
                  <a:gd name="T2" fmla="*/ 0 w 156"/>
                  <a:gd name="T3" fmla="*/ 104 h 280"/>
                  <a:gd name="T4" fmla="*/ 11 w 156"/>
                  <a:gd name="T5" fmla="*/ 96 h 280"/>
                  <a:gd name="T6" fmla="*/ 4 w 156"/>
                  <a:gd name="T7" fmla="*/ 46 h 280"/>
                  <a:gd name="T8" fmla="*/ 28 w 156"/>
                  <a:gd name="T9" fmla="*/ 22 h 280"/>
                  <a:gd name="T10" fmla="*/ 59 w 156"/>
                  <a:gd name="T11" fmla="*/ 4 h 280"/>
                  <a:gd name="T12" fmla="*/ 108 w 156"/>
                  <a:gd name="T13" fmla="*/ 6 h 280"/>
                  <a:gd name="T14" fmla="*/ 138 w 156"/>
                  <a:gd name="T15" fmla="*/ 93 h 280"/>
                  <a:gd name="T16" fmla="*/ 143 w 156"/>
                  <a:gd name="T17" fmla="*/ 99 h 280"/>
                  <a:gd name="T18" fmla="*/ 131 w 156"/>
                  <a:gd name="T19" fmla="*/ 140 h 280"/>
                  <a:gd name="T20" fmla="*/ 122 w 156"/>
                  <a:gd name="T21" fmla="*/ 147 h 280"/>
                  <a:gd name="T22" fmla="*/ 114 w 156"/>
                  <a:gd name="T23" fmla="*/ 215 h 280"/>
                  <a:gd name="T24" fmla="*/ 80 w 156"/>
                  <a:gd name="T25" fmla="*/ 280 h 280"/>
                  <a:gd name="T26" fmla="*/ 56 w 156"/>
                  <a:gd name="T27" fmla="*/ 267 h 280"/>
                  <a:gd name="T28" fmla="*/ 44 w 156"/>
                  <a:gd name="T29" fmla="*/ 241 h 280"/>
                  <a:gd name="T30" fmla="*/ 24 w 156"/>
                  <a:gd name="T31" fmla="*/ 188 h 280"/>
                  <a:gd name="T32" fmla="*/ 24 w 156"/>
                  <a:gd name="T33" fmla="*/ 150 h 280"/>
                  <a:gd name="T34" fmla="*/ 12 w 156"/>
                  <a:gd name="T35" fmla="*/ 137 h 280"/>
                  <a:gd name="T36" fmla="*/ 0 w 156"/>
                  <a:gd name="T37" fmla="*/ 112 h 2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56" h="280">
                    <a:moveTo>
                      <a:pt x="0" y="112"/>
                    </a:moveTo>
                    <a:cubicBezTo>
                      <a:pt x="0" y="109"/>
                      <a:pt x="0" y="107"/>
                      <a:pt x="0" y="104"/>
                    </a:cubicBezTo>
                    <a:cubicBezTo>
                      <a:pt x="3" y="101"/>
                      <a:pt x="3" y="94"/>
                      <a:pt x="11" y="96"/>
                    </a:cubicBezTo>
                    <a:cubicBezTo>
                      <a:pt x="6" y="80"/>
                      <a:pt x="6" y="64"/>
                      <a:pt x="4" y="46"/>
                    </a:cubicBezTo>
                    <a:cubicBezTo>
                      <a:pt x="8" y="36"/>
                      <a:pt x="19" y="30"/>
                      <a:pt x="28" y="22"/>
                    </a:cubicBezTo>
                    <a:cubicBezTo>
                      <a:pt x="38" y="16"/>
                      <a:pt x="47" y="7"/>
                      <a:pt x="59" y="4"/>
                    </a:cubicBezTo>
                    <a:cubicBezTo>
                      <a:pt x="72" y="0"/>
                      <a:pt x="89" y="6"/>
                      <a:pt x="108" y="6"/>
                    </a:cubicBezTo>
                    <a:cubicBezTo>
                      <a:pt x="134" y="19"/>
                      <a:pt x="156" y="55"/>
                      <a:pt x="138" y="93"/>
                    </a:cubicBezTo>
                    <a:cubicBezTo>
                      <a:pt x="137" y="97"/>
                      <a:pt x="145" y="96"/>
                      <a:pt x="143" y="99"/>
                    </a:cubicBezTo>
                    <a:cubicBezTo>
                      <a:pt x="149" y="115"/>
                      <a:pt x="135" y="128"/>
                      <a:pt x="131" y="140"/>
                    </a:cubicBezTo>
                    <a:cubicBezTo>
                      <a:pt x="130" y="142"/>
                      <a:pt x="126" y="146"/>
                      <a:pt x="122" y="147"/>
                    </a:cubicBezTo>
                    <a:cubicBezTo>
                      <a:pt x="122" y="170"/>
                      <a:pt x="121" y="196"/>
                      <a:pt x="114" y="215"/>
                    </a:cubicBezTo>
                    <a:cubicBezTo>
                      <a:pt x="108" y="240"/>
                      <a:pt x="102" y="273"/>
                      <a:pt x="80" y="280"/>
                    </a:cubicBezTo>
                    <a:cubicBezTo>
                      <a:pt x="72" y="274"/>
                      <a:pt x="61" y="274"/>
                      <a:pt x="56" y="267"/>
                    </a:cubicBezTo>
                    <a:cubicBezTo>
                      <a:pt x="51" y="260"/>
                      <a:pt x="48" y="249"/>
                      <a:pt x="44" y="241"/>
                    </a:cubicBezTo>
                    <a:cubicBezTo>
                      <a:pt x="38" y="226"/>
                      <a:pt x="27" y="204"/>
                      <a:pt x="24" y="188"/>
                    </a:cubicBezTo>
                    <a:cubicBezTo>
                      <a:pt x="22" y="175"/>
                      <a:pt x="27" y="161"/>
                      <a:pt x="24" y="150"/>
                    </a:cubicBezTo>
                    <a:cubicBezTo>
                      <a:pt x="22" y="140"/>
                      <a:pt x="18" y="144"/>
                      <a:pt x="12" y="137"/>
                    </a:cubicBezTo>
                    <a:cubicBezTo>
                      <a:pt x="7" y="130"/>
                      <a:pt x="4" y="118"/>
                      <a:pt x="0" y="112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26" name="Freeform 158">
                <a:extLst>
                  <a:ext uri="{FF2B5EF4-FFF2-40B4-BE49-F238E27FC236}">
                    <a16:creationId xmlns:a16="http://schemas.microsoft.com/office/drawing/2014/main" id="{5ABB49AF-5DB6-4354-880A-45AEACEC05B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49535" y="3479810"/>
                <a:ext cx="255587" cy="434977"/>
              </a:xfrm>
              <a:custGeom>
                <a:avLst/>
                <a:gdLst>
                  <a:gd name="T0" fmla="*/ 63 w 68"/>
                  <a:gd name="T1" fmla="*/ 116 h 116"/>
                  <a:gd name="T2" fmla="*/ 60 w 68"/>
                  <a:gd name="T3" fmla="*/ 116 h 116"/>
                  <a:gd name="T4" fmla="*/ 16 w 68"/>
                  <a:gd name="T5" fmla="*/ 98 h 116"/>
                  <a:gd name="T6" fmla="*/ 0 w 68"/>
                  <a:gd name="T7" fmla="*/ 23 h 116"/>
                  <a:gd name="T8" fmla="*/ 55 w 68"/>
                  <a:gd name="T9" fmla="*/ 16 h 116"/>
                  <a:gd name="T10" fmla="*/ 68 w 68"/>
                  <a:gd name="T11" fmla="*/ 91 h 116"/>
                  <a:gd name="T12" fmla="*/ 62 w 68"/>
                  <a:gd name="T13" fmla="*/ 103 h 116"/>
                  <a:gd name="T14" fmla="*/ 63 w 68"/>
                  <a:gd name="T15" fmla="*/ 116 h 116"/>
                  <a:gd name="T16" fmla="*/ 38 w 68"/>
                  <a:gd name="T17" fmla="*/ 65 h 116"/>
                  <a:gd name="T18" fmla="*/ 54 w 68"/>
                  <a:gd name="T19" fmla="*/ 91 h 116"/>
                  <a:gd name="T20" fmla="*/ 44 w 68"/>
                  <a:gd name="T21" fmla="*/ 60 h 116"/>
                  <a:gd name="T22" fmla="*/ 38 w 68"/>
                  <a:gd name="T23" fmla="*/ 65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8" h="116">
                    <a:moveTo>
                      <a:pt x="63" y="116"/>
                    </a:moveTo>
                    <a:cubicBezTo>
                      <a:pt x="62" y="116"/>
                      <a:pt x="60" y="116"/>
                      <a:pt x="60" y="116"/>
                    </a:cubicBezTo>
                    <a:cubicBezTo>
                      <a:pt x="46" y="108"/>
                      <a:pt x="26" y="108"/>
                      <a:pt x="16" y="98"/>
                    </a:cubicBezTo>
                    <a:cubicBezTo>
                      <a:pt x="0" y="81"/>
                      <a:pt x="0" y="56"/>
                      <a:pt x="0" y="23"/>
                    </a:cubicBezTo>
                    <a:cubicBezTo>
                      <a:pt x="12" y="8"/>
                      <a:pt x="40" y="0"/>
                      <a:pt x="55" y="16"/>
                    </a:cubicBezTo>
                    <a:cubicBezTo>
                      <a:pt x="60" y="40"/>
                      <a:pt x="62" y="69"/>
                      <a:pt x="68" y="91"/>
                    </a:cubicBezTo>
                    <a:cubicBezTo>
                      <a:pt x="68" y="98"/>
                      <a:pt x="59" y="95"/>
                      <a:pt x="62" y="103"/>
                    </a:cubicBezTo>
                    <a:cubicBezTo>
                      <a:pt x="66" y="106"/>
                      <a:pt x="67" y="110"/>
                      <a:pt x="63" y="116"/>
                    </a:cubicBezTo>
                    <a:close/>
                    <a:moveTo>
                      <a:pt x="38" y="65"/>
                    </a:moveTo>
                    <a:cubicBezTo>
                      <a:pt x="40" y="75"/>
                      <a:pt x="38" y="93"/>
                      <a:pt x="54" y="91"/>
                    </a:cubicBezTo>
                    <a:cubicBezTo>
                      <a:pt x="47" y="85"/>
                      <a:pt x="50" y="69"/>
                      <a:pt x="44" y="60"/>
                    </a:cubicBezTo>
                    <a:cubicBezTo>
                      <a:pt x="43" y="64"/>
                      <a:pt x="38" y="61"/>
                      <a:pt x="38" y="6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27" name="Freeform 161">
                <a:extLst>
                  <a:ext uri="{FF2B5EF4-FFF2-40B4-BE49-F238E27FC236}">
                    <a16:creationId xmlns:a16="http://schemas.microsoft.com/office/drawing/2014/main" id="{D1FEE705-97AD-4D86-A8DD-6784A9D504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1695456"/>
                <a:ext cx="525465" cy="1109667"/>
              </a:xfrm>
              <a:custGeom>
                <a:avLst/>
                <a:gdLst>
                  <a:gd name="T0" fmla="*/ 139 w 140"/>
                  <a:gd name="T1" fmla="*/ 64 h 296"/>
                  <a:gd name="T2" fmla="*/ 139 w 140"/>
                  <a:gd name="T3" fmla="*/ 71 h 296"/>
                  <a:gd name="T4" fmla="*/ 138 w 140"/>
                  <a:gd name="T5" fmla="*/ 71 h 296"/>
                  <a:gd name="T6" fmla="*/ 93 w 140"/>
                  <a:gd name="T7" fmla="*/ 296 h 296"/>
                  <a:gd name="T8" fmla="*/ 84 w 140"/>
                  <a:gd name="T9" fmla="*/ 296 h 296"/>
                  <a:gd name="T10" fmla="*/ 75 w 140"/>
                  <a:gd name="T11" fmla="*/ 294 h 296"/>
                  <a:gd name="T12" fmla="*/ 63 w 140"/>
                  <a:gd name="T13" fmla="*/ 261 h 296"/>
                  <a:gd name="T14" fmla="*/ 33 w 140"/>
                  <a:gd name="T15" fmla="*/ 170 h 296"/>
                  <a:gd name="T16" fmla="*/ 0 w 140"/>
                  <a:gd name="T17" fmla="*/ 34 h 296"/>
                  <a:gd name="T18" fmla="*/ 0 w 140"/>
                  <a:gd name="T19" fmla="*/ 27 h 296"/>
                  <a:gd name="T20" fmla="*/ 16 w 140"/>
                  <a:gd name="T21" fmla="*/ 0 h 296"/>
                  <a:gd name="T22" fmla="*/ 67 w 140"/>
                  <a:gd name="T23" fmla="*/ 34 h 296"/>
                  <a:gd name="T24" fmla="*/ 70 w 140"/>
                  <a:gd name="T25" fmla="*/ 68 h 296"/>
                  <a:gd name="T26" fmla="*/ 81 w 140"/>
                  <a:gd name="T27" fmla="*/ 61 h 296"/>
                  <a:gd name="T28" fmla="*/ 76 w 140"/>
                  <a:gd name="T29" fmla="*/ 43 h 296"/>
                  <a:gd name="T30" fmla="*/ 110 w 140"/>
                  <a:gd name="T31" fmla="*/ 11 h 296"/>
                  <a:gd name="T32" fmla="*/ 121 w 140"/>
                  <a:gd name="T33" fmla="*/ 3 h 296"/>
                  <a:gd name="T34" fmla="*/ 139 w 140"/>
                  <a:gd name="T35" fmla="*/ 64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0" h="296">
                    <a:moveTo>
                      <a:pt x="139" y="64"/>
                    </a:moveTo>
                    <a:cubicBezTo>
                      <a:pt x="139" y="67"/>
                      <a:pt x="139" y="68"/>
                      <a:pt x="139" y="71"/>
                    </a:cubicBezTo>
                    <a:cubicBezTo>
                      <a:pt x="138" y="71"/>
                      <a:pt x="138" y="71"/>
                      <a:pt x="138" y="71"/>
                    </a:cubicBezTo>
                    <a:cubicBezTo>
                      <a:pt x="125" y="148"/>
                      <a:pt x="108" y="221"/>
                      <a:pt x="93" y="296"/>
                    </a:cubicBezTo>
                    <a:cubicBezTo>
                      <a:pt x="90" y="296"/>
                      <a:pt x="87" y="296"/>
                      <a:pt x="84" y="296"/>
                    </a:cubicBezTo>
                    <a:cubicBezTo>
                      <a:pt x="85" y="294"/>
                      <a:pt x="78" y="296"/>
                      <a:pt x="75" y="294"/>
                    </a:cubicBezTo>
                    <a:cubicBezTo>
                      <a:pt x="72" y="291"/>
                      <a:pt x="67" y="273"/>
                      <a:pt x="63" y="261"/>
                    </a:cubicBezTo>
                    <a:cubicBezTo>
                      <a:pt x="53" y="231"/>
                      <a:pt x="42" y="201"/>
                      <a:pt x="33" y="170"/>
                    </a:cubicBezTo>
                    <a:cubicBezTo>
                      <a:pt x="18" y="118"/>
                      <a:pt x="8" y="74"/>
                      <a:pt x="0" y="34"/>
                    </a:cubicBezTo>
                    <a:cubicBezTo>
                      <a:pt x="0" y="32"/>
                      <a:pt x="0" y="29"/>
                      <a:pt x="0" y="27"/>
                    </a:cubicBezTo>
                    <a:cubicBezTo>
                      <a:pt x="3" y="16"/>
                      <a:pt x="3" y="0"/>
                      <a:pt x="16" y="0"/>
                    </a:cubicBezTo>
                    <a:cubicBezTo>
                      <a:pt x="31" y="13"/>
                      <a:pt x="49" y="23"/>
                      <a:pt x="67" y="34"/>
                    </a:cubicBezTo>
                    <a:cubicBezTo>
                      <a:pt x="74" y="43"/>
                      <a:pt x="71" y="56"/>
                      <a:pt x="70" y="68"/>
                    </a:cubicBezTo>
                    <a:cubicBezTo>
                      <a:pt x="75" y="68"/>
                      <a:pt x="80" y="64"/>
                      <a:pt x="81" y="61"/>
                    </a:cubicBezTo>
                    <a:cubicBezTo>
                      <a:pt x="80" y="62"/>
                      <a:pt x="72" y="49"/>
                      <a:pt x="76" y="43"/>
                    </a:cubicBezTo>
                    <a:cubicBezTo>
                      <a:pt x="87" y="33"/>
                      <a:pt x="98" y="22"/>
                      <a:pt x="110" y="11"/>
                    </a:cubicBezTo>
                    <a:cubicBezTo>
                      <a:pt x="114" y="8"/>
                      <a:pt x="116" y="0"/>
                      <a:pt x="121" y="3"/>
                    </a:cubicBezTo>
                    <a:cubicBezTo>
                      <a:pt x="140" y="11"/>
                      <a:pt x="134" y="43"/>
                      <a:pt x="139" y="64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28" name="Freeform 162">
                <a:extLst>
                  <a:ext uri="{FF2B5EF4-FFF2-40B4-BE49-F238E27FC236}">
                    <a16:creationId xmlns:a16="http://schemas.microsoft.com/office/drawing/2014/main" id="{F2869093-7335-4077-BAA8-B92E5B2F4A0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19371" y="1709743"/>
                <a:ext cx="1695457" cy="2039945"/>
              </a:xfrm>
              <a:custGeom>
                <a:avLst/>
                <a:gdLst>
                  <a:gd name="T0" fmla="*/ 289 w 452"/>
                  <a:gd name="T1" fmla="*/ 0 h 544"/>
                  <a:gd name="T2" fmla="*/ 293 w 452"/>
                  <a:gd name="T3" fmla="*/ 0 h 544"/>
                  <a:gd name="T4" fmla="*/ 403 w 452"/>
                  <a:gd name="T5" fmla="*/ 35 h 544"/>
                  <a:gd name="T6" fmla="*/ 413 w 452"/>
                  <a:gd name="T7" fmla="*/ 78 h 544"/>
                  <a:gd name="T8" fmla="*/ 414 w 452"/>
                  <a:gd name="T9" fmla="*/ 130 h 544"/>
                  <a:gd name="T10" fmla="*/ 421 w 452"/>
                  <a:gd name="T11" fmla="*/ 163 h 544"/>
                  <a:gd name="T12" fmla="*/ 424 w 452"/>
                  <a:gd name="T13" fmla="*/ 225 h 544"/>
                  <a:gd name="T14" fmla="*/ 446 w 452"/>
                  <a:gd name="T15" fmla="*/ 341 h 544"/>
                  <a:gd name="T16" fmla="*/ 452 w 452"/>
                  <a:gd name="T17" fmla="*/ 475 h 544"/>
                  <a:gd name="T18" fmla="*/ 439 w 452"/>
                  <a:gd name="T19" fmla="*/ 471 h 544"/>
                  <a:gd name="T20" fmla="*/ 395 w 452"/>
                  <a:gd name="T21" fmla="*/ 476 h 544"/>
                  <a:gd name="T22" fmla="*/ 395 w 452"/>
                  <a:gd name="T23" fmla="*/ 513 h 544"/>
                  <a:gd name="T24" fmla="*/ 340 w 452"/>
                  <a:gd name="T25" fmla="*/ 517 h 544"/>
                  <a:gd name="T26" fmla="*/ 289 w 452"/>
                  <a:gd name="T27" fmla="*/ 470 h 544"/>
                  <a:gd name="T28" fmla="*/ 248 w 452"/>
                  <a:gd name="T29" fmla="*/ 372 h 544"/>
                  <a:gd name="T30" fmla="*/ 206 w 452"/>
                  <a:gd name="T31" fmla="*/ 527 h 544"/>
                  <a:gd name="T32" fmla="*/ 70 w 452"/>
                  <a:gd name="T33" fmla="*/ 523 h 544"/>
                  <a:gd name="T34" fmla="*/ 70 w 452"/>
                  <a:gd name="T35" fmla="*/ 499 h 544"/>
                  <a:gd name="T36" fmla="*/ 56 w 452"/>
                  <a:gd name="T37" fmla="*/ 486 h 544"/>
                  <a:gd name="T38" fmla="*/ 4 w 452"/>
                  <a:gd name="T39" fmla="*/ 499 h 544"/>
                  <a:gd name="T40" fmla="*/ 4 w 452"/>
                  <a:gd name="T41" fmla="*/ 364 h 544"/>
                  <a:gd name="T42" fmla="*/ 12 w 452"/>
                  <a:gd name="T43" fmla="*/ 322 h 544"/>
                  <a:gd name="T44" fmla="*/ 16 w 452"/>
                  <a:gd name="T45" fmla="*/ 264 h 544"/>
                  <a:gd name="T46" fmla="*/ 33 w 452"/>
                  <a:gd name="T47" fmla="*/ 124 h 544"/>
                  <a:gd name="T48" fmla="*/ 49 w 452"/>
                  <a:gd name="T49" fmla="*/ 44 h 544"/>
                  <a:gd name="T50" fmla="*/ 107 w 452"/>
                  <a:gd name="T51" fmla="*/ 25 h 544"/>
                  <a:gd name="T52" fmla="*/ 163 w 452"/>
                  <a:gd name="T53" fmla="*/ 4 h 544"/>
                  <a:gd name="T54" fmla="*/ 196 w 452"/>
                  <a:gd name="T55" fmla="*/ 153 h 544"/>
                  <a:gd name="T56" fmla="*/ 228 w 452"/>
                  <a:gd name="T57" fmla="*/ 255 h 544"/>
                  <a:gd name="T58" fmla="*/ 244 w 452"/>
                  <a:gd name="T59" fmla="*/ 285 h 544"/>
                  <a:gd name="T60" fmla="*/ 251 w 452"/>
                  <a:gd name="T61" fmla="*/ 265 h 544"/>
                  <a:gd name="T62" fmla="*/ 256 w 452"/>
                  <a:gd name="T63" fmla="*/ 242 h 544"/>
                  <a:gd name="T64" fmla="*/ 285 w 452"/>
                  <a:gd name="T65" fmla="*/ 109 h 544"/>
                  <a:gd name="T66" fmla="*/ 289 w 452"/>
                  <a:gd name="T67" fmla="*/ 0 h 544"/>
                  <a:gd name="T68" fmla="*/ 80 w 452"/>
                  <a:gd name="T69" fmla="*/ 314 h 544"/>
                  <a:gd name="T70" fmla="*/ 80 w 452"/>
                  <a:gd name="T71" fmla="*/ 344 h 544"/>
                  <a:gd name="T72" fmla="*/ 80 w 452"/>
                  <a:gd name="T73" fmla="*/ 383 h 544"/>
                  <a:gd name="T74" fmla="*/ 92 w 452"/>
                  <a:gd name="T75" fmla="*/ 332 h 544"/>
                  <a:gd name="T76" fmla="*/ 92 w 452"/>
                  <a:gd name="T77" fmla="*/ 265 h 544"/>
                  <a:gd name="T78" fmla="*/ 80 w 452"/>
                  <a:gd name="T79" fmla="*/ 314 h 5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52" h="544">
                    <a:moveTo>
                      <a:pt x="289" y="0"/>
                    </a:moveTo>
                    <a:cubicBezTo>
                      <a:pt x="290" y="0"/>
                      <a:pt x="291" y="0"/>
                      <a:pt x="293" y="0"/>
                    </a:cubicBezTo>
                    <a:cubicBezTo>
                      <a:pt x="329" y="13"/>
                      <a:pt x="366" y="25"/>
                      <a:pt x="403" y="35"/>
                    </a:cubicBezTo>
                    <a:cubicBezTo>
                      <a:pt x="405" y="50"/>
                      <a:pt x="411" y="63"/>
                      <a:pt x="413" y="78"/>
                    </a:cubicBezTo>
                    <a:cubicBezTo>
                      <a:pt x="414" y="95"/>
                      <a:pt x="413" y="112"/>
                      <a:pt x="414" y="130"/>
                    </a:cubicBezTo>
                    <a:cubicBezTo>
                      <a:pt x="414" y="142"/>
                      <a:pt x="420" y="152"/>
                      <a:pt x="421" y="163"/>
                    </a:cubicBezTo>
                    <a:cubicBezTo>
                      <a:pt x="422" y="185"/>
                      <a:pt x="421" y="205"/>
                      <a:pt x="424" y="225"/>
                    </a:cubicBezTo>
                    <a:cubicBezTo>
                      <a:pt x="429" y="265"/>
                      <a:pt x="441" y="302"/>
                      <a:pt x="446" y="341"/>
                    </a:cubicBezTo>
                    <a:cubicBezTo>
                      <a:pt x="451" y="384"/>
                      <a:pt x="449" y="426"/>
                      <a:pt x="452" y="475"/>
                    </a:cubicBezTo>
                    <a:cubicBezTo>
                      <a:pt x="450" y="480"/>
                      <a:pt x="443" y="472"/>
                      <a:pt x="439" y="471"/>
                    </a:cubicBezTo>
                    <a:cubicBezTo>
                      <a:pt x="424" y="467"/>
                      <a:pt x="404" y="467"/>
                      <a:pt x="395" y="476"/>
                    </a:cubicBezTo>
                    <a:cubicBezTo>
                      <a:pt x="395" y="489"/>
                      <a:pt x="395" y="500"/>
                      <a:pt x="395" y="513"/>
                    </a:cubicBezTo>
                    <a:cubicBezTo>
                      <a:pt x="375" y="513"/>
                      <a:pt x="357" y="519"/>
                      <a:pt x="340" y="517"/>
                    </a:cubicBezTo>
                    <a:cubicBezTo>
                      <a:pt x="312" y="514"/>
                      <a:pt x="301" y="490"/>
                      <a:pt x="289" y="470"/>
                    </a:cubicBezTo>
                    <a:cubicBezTo>
                      <a:pt x="273" y="443"/>
                      <a:pt x="256" y="400"/>
                      <a:pt x="248" y="372"/>
                    </a:cubicBezTo>
                    <a:cubicBezTo>
                      <a:pt x="238" y="428"/>
                      <a:pt x="235" y="489"/>
                      <a:pt x="206" y="527"/>
                    </a:cubicBezTo>
                    <a:cubicBezTo>
                      <a:pt x="171" y="544"/>
                      <a:pt x="108" y="532"/>
                      <a:pt x="70" y="523"/>
                    </a:cubicBezTo>
                    <a:cubicBezTo>
                      <a:pt x="70" y="515"/>
                      <a:pt x="70" y="506"/>
                      <a:pt x="70" y="499"/>
                    </a:cubicBezTo>
                    <a:cubicBezTo>
                      <a:pt x="63" y="501"/>
                      <a:pt x="61" y="490"/>
                      <a:pt x="56" y="486"/>
                    </a:cubicBezTo>
                    <a:cubicBezTo>
                      <a:pt x="35" y="486"/>
                      <a:pt x="19" y="492"/>
                      <a:pt x="4" y="499"/>
                    </a:cubicBezTo>
                    <a:cubicBezTo>
                      <a:pt x="7" y="454"/>
                      <a:pt x="0" y="410"/>
                      <a:pt x="4" y="364"/>
                    </a:cubicBezTo>
                    <a:cubicBezTo>
                      <a:pt x="4" y="350"/>
                      <a:pt x="10" y="336"/>
                      <a:pt x="12" y="322"/>
                    </a:cubicBezTo>
                    <a:cubicBezTo>
                      <a:pt x="14" y="303"/>
                      <a:pt x="14" y="283"/>
                      <a:pt x="16" y="264"/>
                    </a:cubicBezTo>
                    <a:cubicBezTo>
                      <a:pt x="23" y="218"/>
                      <a:pt x="24" y="170"/>
                      <a:pt x="33" y="124"/>
                    </a:cubicBezTo>
                    <a:cubicBezTo>
                      <a:pt x="40" y="97"/>
                      <a:pt x="41" y="69"/>
                      <a:pt x="49" y="44"/>
                    </a:cubicBezTo>
                    <a:cubicBezTo>
                      <a:pt x="67" y="35"/>
                      <a:pt x="87" y="31"/>
                      <a:pt x="107" y="25"/>
                    </a:cubicBezTo>
                    <a:cubicBezTo>
                      <a:pt x="125" y="17"/>
                      <a:pt x="143" y="9"/>
                      <a:pt x="163" y="4"/>
                    </a:cubicBezTo>
                    <a:cubicBezTo>
                      <a:pt x="175" y="54"/>
                      <a:pt x="184" y="105"/>
                      <a:pt x="196" y="153"/>
                    </a:cubicBezTo>
                    <a:cubicBezTo>
                      <a:pt x="205" y="189"/>
                      <a:pt x="217" y="223"/>
                      <a:pt x="228" y="255"/>
                    </a:cubicBezTo>
                    <a:cubicBezTo>
                      <a:pt x="232" y="265"/>
                      <a:pt x="235" y="279"/>
                      <a:pt x="244" y="285"/>
                    </a:cubicBezTo>
                    <a:cubicBezTo>
                      <a:pt x="251" y="280"/>
                      <a:pt x="249" y="271"/>
                      <a:pt x="251" y="265"/>
                    </a:cubicBezTo>
                    <a:cubicBezTo>
                      <a:pt x="252" y="257"/>
                      <a:pt x="253" y="250"/>
                      <a:pt x="256" y="242"/>
                    </a:cubicBezTo>
                    <a:cubicBezTo>
                      <a:pt x="265" y="196"/>
                      <a:pt x="278" y="154"/>
                      <a:pt x="285" y="109"/>
                    </a:cubicBezTo>
                    <a:cubicBezTo>
                      <a:pt x="290" y="75"/>
                      <a:pt x="286" y="35"/>
                      <a:pt x="289" y="0"/>
                    </a:cubicBezTo>
                    <a:close/>
                    <a:moveTo>
                      <a:pt x="80" y="314"/>
                    </a:moveTo>
                    <a:cubicBezTo>
                      <a:pt x="79" y="323"/>
                      <a:pt x="82" y="334"/>
                      <a:pt x="80" y="344"/>
                    </a:cubicBezTo>
                    <a:cubicBezTo>
                      <a:pt x="80" y="356"/>
                      <a:pt x="76" y="370"/>
                      <a:pt x="80" y="383"/>
                    </a:cubicBezTo>
                    <a:cubicBezTo>
                      <a:pt x="84" y="367"/>
                      <a:pt x="88" y="350"/>
                      <a:pt x="92" y="332"/>
                    </a:cubicBezTo>
                    <a:cubicBezTo>
                      <a:pt x="96" y="313"/>
                      <a:pt x="101" y="281"/>
                      <a:pt x="92" y="265"/>
                    </a:cubicBezTo>
                    <a:cubicBezTo>
                      <a:pt x="91" y="284"/>
                      <a:pt x="83" y="297"/>
                      <a:pt x="80" y="314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29" name="Freeform 163">
                <a:extLst>
                  <a:ext uri="{FF2B5EF4-FFF2-40B4-BE49-F238E27FC236}">
                    <a16:creationId xmlns:a16="http://schemas.microsoft.com/office/drawing/2014/main" id="{1CA78E69-0B95-4E82-8F4C-1F39FEAECF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70225" y="1665292"/>
                <a:ext cx="839790" cy="1258889"/>
              </a:xfrm>
              <a:custGeom>
                <a:avLst/>
                <a:gdLst>
                  <a:gd name="T0" fmla="*/ 160 w 224"/>
                  <a:gd name="T1" fmla="*/ 0 h 336"/>
                  <a:gd name="T2" fmla="*/ 161 w 224"/>
                  <a:gd name="T3" fmla="*/ 0 h 336"/>
                  <a:gd name="T4" fmla="*/ 192 w 224"/>
                  <a:gd name="T5" fmla="*/ 20 h 336"/>
                  <a:gd name="T6" fmla="*/ 219 w 224"/>
                  <a:gd name="T7" fmla="*/ 62 h 336"/>
                  <a:gd name="T8" fmla="*/ 202 w 224"/>
                  <a:gd name="T9" fmla="*/ 79 h 336"/>
                  <a:gd name="T10" fmla="*/ 224 w 224"/>
                  <a:gd name="T11" fmla="*/ 101 h 336"/>
                  <a:gd name="T12" fmla="*/ 224 w 224"/>
                  <a:gd name="T13" fmla="*/ 104 h 336"/>
                  <a:gd name="T14" fmla="*/ 122 w 224"/>
                  <a:gd name="T15" fmla="*/ 336 h 336"/>
                  <a:gd name="T16" fmla="*/ 121 w 224"/>
                  <a:gd name="T17" fmla="*/ 308 h 336"/>
                  <a:gd name="T18" fmla="*/ 2 w 224"/>
                  <a:gd name="T19" fmla="*/ 111 h 336"/>
                  <a:gd name="T20" fmla="*/ 17 w 224"/>
                  <a:gd name="T21" fmla="*/ 84 h 336"/>
                  <a:gd name="T22" fmla="*/ 0 w 224"/>
                  <a:gd name="T23" fmla="*/ 65 h 336"/>
                  <a:gd name="T24" fmla="*/ 0 w 224"/>
                  <a:gd name="T25" fmla="*/ 63 h 336"/>
                  <a:gd name="T26" fmla="*/ 48 w 224"/>
                  <a:gd name="T27" fmla="*/ 8 h 336"/>
                  <a:gd name="T28" fmla="*/ 122 w 224"/>
                  <a:gd name="T29" fmla="*/ 293 h 336"/>
                  <a:gd name="T30" fmla="*/ 160 w 224"/>
                  <a:gd name="T31" fmla="*/ 0 h 3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24" h="336">
                    <a:moveTo>
                      <a:pt x="160" y="0"/>
                    </a:moveTo>
                    <a:cubicBezTo>
                      <a:pt x="160" y="0"/>
                      <a:pt x="160" y="0"/>
                      <a:pt x="161" y="0"/>
                    </a:cubicBezTo>
                    <a:cubicBezTo>
                      <a:pt x="169" y="9"/>
                      <a:pt x="177" y="18"/>
                      <a:pt x="192" y="20"/>
                    </a:cubicBezTo>
                    <a:cubicBezTo>
                      <a:pt x="200" y="35"/>
                      <a:pt x="210" y="48"/>
                      <a:pt x="219" y="62"/>
                    </a:cubicBezTo>
                    <a:cubicBezTo>
                      <a:pt x="217" y="69"/>
                      <a:pt x="206" y="72"/>
                      <a:pt x="202" y="79"/>
                    </a:cubicBezTo>
                    <a:cubicBezTo>
                      <a:pt x="209" y="87"/>
                      <a:pt x="217" y="95"/>
                      <a:pt x="224" y="101"/>
                    </a:cubicBezTo>
                    <a:cubicBezTo>
                      <a:pt x="224" y="102"/>
                      <a:pt x="224" y="104"/>
                      <a:pt x="224" y="104"/>
                    </a:cubicBezTo>
                    <a:cubicBezTo>
                      <a:pt x="197" y="189"/>
                      <a:pt x="160" y="263"/>
                      <a:pt x="122" y="336"/>
                    </a:cubicBezTo>
                    <a:cubicBezTo>
                      <a:pt x="117" y="333"/>
                      <a:pt x="118" y="315"/>
                      <a:pt x="121" y="308"/>
                    </a:cubicBezTo>
                    <a:cubicBezTo>
                      <a:pt x="77" y="247"/>
                      <a:pt x="35" y="184"/>
                      <a:pt x="2" y="111"/>
                    </a:cubicBezTo>
                    <a:cubicBezTo>
                      <a:pt x="6" y="101"/>
                      <a:pt x="12" y="93"/>
                      <a:pt x="17" y="84"/>
                    </a:cubicBezTo>
                    <a:cubicBezTo>
                      <a:pt x="15" y="76"/>
                      <a:pt x="7" y="72"/>
                      <a:pt x="0" y="65"/>
                    </a:cubicBezTo>
                    <a:cubicBezTo>
                      <a:pt x="0" y="65"/>
                      <a:pt x="0" y="64"/>
                      <a:pt x="0" y="63"/>
                    </a:cubicBezTo>
                    <a:cubicBezTo>
                      <a:pt x="16" y="44"/>
                      <a:pt x="25" y="18"/>
                      <a:pt x="48" y="8"/>
                    </a:cubicBezTo>
                    <a:cubicBezTo>
                      <a:pt x="73" y="104"/>
                      <a:pt x="95" y="200"/>
                      <a:pt x="122" y="293"/>
                    </a:cubicBezTo>
                    <a:cubicBezTo>
                      <a:pt x="136" y="198"/>
                      <a:pt x="164" y="114"/>
                      <a:pt x="160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30" name="Freeform 164">
                <a:extLst>
                  <a:ext uri="{FF2B5EF4-FFF2-40B4-BE49-F238E27FC236}">
                    <a16:creationId xmlns:a16="http://schemas.microsoft.com/office/drawing/2014/main" id="{2C799CA4-40FC-4ECE-8FC3-68393F536D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9611" y="1619255"/>
                <a:ext cx="165099" cy="330202"/>
              </a:xfrm>
              <a:custGeom>
                <a:avLst/>
                <a:gdLst>
                  <a:gd name="T0" fmla="*/ 0 w 44"/>
                  <a:gd name="T1" fmla="*/ 21 h 88"/>
                  <a:gd name="T2" fmla="*/ 0 w 44"/>
                  <a:gd name="T3" fmla="*/ 21 h 88"/>
                  <a:gd name="T4" fmla="*/ 12 w 44"/>
                  <a:gd name="T5" fmla="*/ 0 h 88"/>
                  <a:gd name="T6" fmla="*/ 44 w 44"/>
                  <a:gd name="T7" fmla="*/ 46 h 88"/>
                  <a:gd name="T8" fmla="*/ 19 w 44"/>
                  <a:gd name="T9" fmla="*/ 88 h 88"/>
                  <a:gd name="T10" fmla="*/ 0 w 44"/>
                  <a:gd name="T11" fmla="*/ 21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88">
                    <a:moveTo>
                      <a:pt x="0" y="21"/>
                    </a:moveTo>
                    <a:cubicBezTo>
                      <a:pt x="0" y="21"/>
                      <a:pt x="0" y="21"/>
                      <a:pt x="0" y="21"/>
                    </a:cubicBezTo>
                    <a:cubicBezTo>
                      <a:pt x="8" y="17"/>
                      <a:pt x="6" y="4"/>
                      <a:pt x="12" y="0"/>
                    </a:cubicBezTo>
                    <a:cubicBezTo>
                      <a:pt x="17" y="21"/>
                      <a:pt x="35" y="28"/>
                      <a:pt x="44" y="46"/>
                    </a:cubicBezTo>
                    <a:cubicBezTo>
                      <a:pt x="32" y="56"/>
                      <a:pt x="35" y="82"/>
                      <a:pt x="19" y="88"/>
                    </a:cubicBezTo>
                    <a:cubicBezTo>
                      <a:pt x="11" y="63"/>
                      <a:pt x="8" y="50"/>
                      <a:pt x="0" y="21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31" name="Freeform 165">
                <a:extLst>
                  <a:ext uri="{FF2B5EF4-FFF2-40B4-BE49-F238E27FC236}">
                    <a16:creationId xmlns:a16="http://schemas.microsoft.com/office/drawing/2014/main" id="{51CD1289-4FDF-4407-A670-5100520FEC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65526" y="1619255"/>
                <a:ext cx="134939" cy="346075"/>
              </a:xfrm>
              <a:custGeom>
                <a:avLst/>
                <a:gdLst>
                  <a:gd name="T0" fmla="*/ 22 w 36"/>
                  <a:gd name="T1" fmla="*/ 0 h 92"/>
                  <a:gd name="T2" fmla="*/ 22 w 36"/>
                  <a:gd name="T3" fmla="*/ 92 h 92"/>
                  <a:gd name="T4" fmla="*/ 0 w 36"/>
                  <a:gd name="T5" fmla="*/ 46 h 92"/>
                  <a:gd name="T6" fmla="*/ 22 w 36"/>
                  <a:gd name="T7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6" h="92">
                    <a:moveTo>
                      <a:pt x="22" y="0"/>
                    </a:moveTo>
                    <a:cubicBezTo>
                      <a:pt x="36" y="13"/>
                      <a:pt x="29" y="69"/>
                      <a:pt x="22" y="92"/>
                    </a:cubicBezTo>
                    <a:cubicBezTo>
                      <a:pt x="3" y="91"/>
                      <a:pt x="8" y="55"/>
                      <a:pt x="0" y="46"/>
                    </a:cubicBezTo>
                    <a:cubicBezTo>
                      <a:pt x="4" y="29"/>
                      <a:pt x="22" y="26"/>
                      <a:pt x="22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32" name="Freeform 166">
                <a:extLst>
                  <a:ext uri="{FF2B5EF4-FFF2-40B4-BE49-F238E27FC236}">
                    <a16:creationId xmlns:a16="http://schemas.microsoft.com/office/drawing/2014/main" id="{0DA8566E-515E-4FA2-B89F-6EF7EE1106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6274" y="955678"/>
                <a:ext cx="581026" cy="346075"/>
              </a:xfrm>
              <a:custGeom>
                <a:avLst/>
                <a:gdLst>
                  <a:gd name="T0" fmla="*/ 20 w 155"/>
                  <a:gd name="T1" fmla="*/ 49 h 92"/>
                  <a:gd name="T2" fmla="*/ 54 w 155"/>
                  <a:gd name="T3" fmla="*/ 54 h 92"/>
                  <a:gd name="T4" fmla="*/ 98 w 155"/>
                  <a:gd name="T5" fmla="*/ 59 h 92"/>
                  <a:gd name="T6" fmla="*/ 128 w 155"/>
                  <a:gd name="T7" fmla="*/ 67 h 92"/>
                  <a:gd name="T8" fmla="*/ 136 w 155"/>
                  <a:gd name="T9" fmla="*/ 92 h 92"/>
                  <a:gd name="T10" fmla="*/ 105 w 155"/>
                  <a:gd name="T11" fmla="*/ 5 h 92"/>
                  <a:gd name="T12" fmla="*/ 55 w 155"/>
                  <a:gd name="T13" fmla="*/ 4 h 92"/>
                  <a:gd name="T14" fmla="*/ 24 w 155"/>
                  <a:gd name="T15" fmla="*/ 21 h 92"/>
                  <a:gd name="T16" fmla="*/ 0 w 155"/>
                  <a:gd name="T17" fmla="*/ 45 h 92"/>
                  <a:gd name="T18" fmla="*/ 6 w 155"/>
                  <a:gd name="T19" fmla="*/ 91 h 92"/>
                  <a:gd name="T20" fmla="*/ 7 w 155"/>
                  <a:gd name="T21" fmla="*/ 91 h 92"/>
                  <a:gd name="T22" fmla="*/ 20 w 155"/>
                  <a:gd name="T23" fmla="*/ 49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5" h="92">
                    <a:moveTo>
                      <a:pt x="20" y="49"/>
                    </a:moveTo>
                    <a:cubicBezTo>
                      <a:pt x="28" y="48"/>
                      <a:pt x="33" y="47"/>
                      <a:pt x="54" y="54"/>
                    </a:cubicBezTo>
                    <a:cubicBezTo>
                      <a:pt x="75" y="60"/>
                      <a:pt x="90" y="69"/>
                      <a:pt x="98" y="59"/>
                    </a:cubicBezTo>
                    <a:cubicBezTo>
                      <a:pt x="107" y="49"/>
                      <a:pt x="127" y="62"/>
                      <a:pt x="128" y="67"/>
                    </a:cubicBezTo>
                    <a:cubicBezTo>
                      <a:pt x="130" y="73"/>
                      <a:pt x="136" y="92"/>
                      <a:pt x="136" y="92"/>
                    </a:cubicBezTo>
                    <a:cubicBezTo>
                      <a:pt x="155" y="54"/>
                      <a:pt x="132" y="19"/>
                      <a:pt x="105" y="5"/>
                    </a:cubicBezTo>
                    <a:cubicBezTo>
                      <a:pt x="86" y="5"/>
                      <a:pt x="69" y="0"/>
                      <a:pt x="55" y="4"/>
                    </a:cubicBezTo>
                    <a:cubicBezTo>
                      <a:pt x="43" y="6"/>
                      <a:pt x="34" y="15"/>
                      <a:pt x="24" y="21"/>
                    </a:cubicBezTo>
                    <a:cubicBezTo>
                      <a:pt x="15" y="29"/>
                      <a:pt x="4" y="35"/>
                      <a:pt x="0" y="45"/>
                    </a:cubicBezTo>
                    <a:cubicBezTo>
                      <a:pt x="1" y="62"/>
                      <a:pt x="1" y="77"/>
                      <a:pt x="6" y="91"/>
                    </a:cubicBezTo>
                    <a:cubicBezTo>
                      <a:pt x="7" y="91"/>
                      <a:pt x="7" y="91"/>
                      <a:pt x="7" y="91"/>
                    </a:cubicBezTo>
                    <a:cubicBezTo>
                      <a:pt x="9" y="82"/>
                      <a:pt x="14" y="51"/>
                      <a:pt x="20" y="49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33" name="Freeform 167">
                <a:extLst>
                  <a:ext uri="{FF2B5EF4-FFF2-40B4-BE49-F238E27FC236}">
                    <a16:creationId xmlns:a16="http://schemas.microsoft.com/office/drawing/2014/main" id="{839D4F4A-A8ED-42B9-8376-004A3B9405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16312" y="2133606"/>
                <a:ext cx="71438" cy="96838"/>
              </a:xfrm>
              <a:custGeom>
                <a:avLst/>
                <a:gdLst>
                  <a:gd name="T0" fmla="*/ 5 w 19"/>
                  <a:gd name="T1" fmla="*/ 10 h 26"/>
                  <a:gd name="T2" fmla="*/ 11 w 19"/>
                  <a:gd name="T3" fmla="*/ 2 h 26"/>
                  <a:gd name="T4" fmla="*/ 15 w 19"/>
                  <a:gd name="T5" fmla="*/ 10 h 26"/>
                  <a:gd name="T6" fmla="*/ 0 w 19"/>
                  <a:gd name="T7" fmla="*/ 22 h 26"/>
                  <a:gd name="T8" fmla="*/ 5 w 19"/>
                  <a:gd name="T9" fmla="*/ 1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6">
                    <a:moveTo>
                      <a:pt x="5" y="10"/>
                    </a:moveTo>
                    <a:cubicBezTo>
                      <a:pt x="9" y="6"/>
                      <a:pt x="5" y="0"/>
                      <a:pt x="11" y="2"/>
                    </a:cubicBezTo>
                    <a:cubicBezTo>
                      <a:pt x="16" y="4"/>
                      <a:pt x="19" y="5"/>
                      <a:pt x="15" y="10"/>
                    </a:cubicBezTo>
                    <a:cubicBezTo>
                      <a:pt x="11" y="16"/>
                      <a:pt x="0" y="26"/>
                      <a:pt x="0" y="22"/>
                    </a:cubicBezTo>
                    <a:cubicBezTo>
                      <a:pt x="0" y="19"/>
                      <a:pt x="5" y="10"/>
                      <a:pt x="5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34" name="Freeform 168">
                <a:extLst>
                  <a:ext uri="{FF2B5EF4-FFF2-40B4-BE49-F238E27FC236}">
                    <a16:creationId xmlns:a16="http://schemas.microsoft.com/office/drawing/2014/main" id="{B3870913-D6AD-445A-AD48-B60D9E1EB1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7261" y="2354269"/>
                <a:ext cx="71438" cy="93661"/>
              </a:xfrm>
              <a:custGeom>
                <a:avLst/>
                <a:gdLst>
                  <a:gd name="T0" fmla="*/ 6 w 19"/>
                  <a:gd name="T1" fmla="*/ 10 h 25"/>
                  <a:gd name="T2" fmla="*/ 11 w 19"/>
                  <a:gd name="T3" fmla="*/ 2 h 25"/>
                  <a:gd name="T4" fmla="*/ 15 w 19"/>
                  <a:gd name="T5" fmla="*/ 10 h 25"/>
                  <a:gd name="T6" fmla="*/ 0 w 19"/>
                  <a:gd name="T7" fmla="*/ 22 h 25"/>
                  <a:gd name="T8" fmla="*/ 6 w 19"/>
                  <a:gd name="T9" fmla="*/ 1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5">
                    <a:moveTo>
                      <a:pt x="6" y="10"/>
                    </a:moveTo>
                    <a:cubicBezTo>
                      <a:pt x="9" y="5"/>
                      <a:pt x="6" y="0"/>
                      <a:pt x="11" y="2"/>
                    </a:cubicBezTo>
                    <a:cubicBezTo>
                      <a:pt x="16" y="4"/>
                      <a:pt x="19" y="4"/>
                      <a:pt x="15" y="10"/>
                    </a:cubicBezTo>
                    <a:cubicBezTo>
                      <a:pt x="11" y="15"/>
                      <a:pt x="0" y="25"/>
                      <a:pt x="0" y="22"/>
                    </a:cubicBezTo>
                    <a:cubicBezTo>
                      <a:pt x="0" y="19"/>
                      <a:pt x="6" y="10"/>
                      <a:pt x="6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35" name="Freeform 169">
                <a:extLst>
                  <a:ext uri="{FF2B5EF4-FFF2-40B4-BE49-F238E27FC236}">
                    <a16:creationId xmlns:a16="http://schemas.microsoft.com/office/drawing/2014/main" id="{EF72BCFE-4FF8-464E-A99C-A8990B20D1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27349" y="2073282"/>
                <a:ext cx="49214" cy="630240"/>
              </a:xfrm>
              <a:custGeom>
                <a:avLst/>
                <a:gdLst>
                  <a:gd name="T0" fmla="*/ 10 w 13"/>
                  <a:gd name="T1" fmla="*/ 168 h 168"/>
                  <a:gd name="T2" fmla="*/ 6 w 13"/>
                  <a:gd name="T3" fmla="*/ 39 h 168"/>
                  <a:gd name="T4" fmla="*/ 6 w 13"/>
                  <a:gd name="T5" fmla="*/ 10 h 168"/>
                  <a:gd name="T6" fmla="*/ 13 w 13"/>
                  <a:gd name="T7" fmla="*/ 10 h 168"/>
                  <a:gd name="T8" fmla="*/ 10 w 13"/>
                  <a:gd name="T9" fmla="*/ 168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68">
                    <a:moveTo>
                      <a:pt x="10" y="168"/>
                    </a:moveTo>
                    <a:cubicBezTo>
                      <a:pt x="10" y="168"/>
                      <a:pt x="11" y="61"/>
                      <a:pt x="6" y="39"/>
                    </a:cubicBezTo>
                    <a:cubicBezTo>
                      <a:pt x="0" y="17"/>
                      <a:pt x="2" y="10"/>
                      <a:pt x="6" y="10"/>
                    </a:cubicBezTo>
                    <a:cubicBezTo>
                      <a:pt x="10" y="10"/>
                      <a:pt x="13" y="0"/>
                      <a:pt x="13" y="10"/>
                    </a:cubicBezTo>
                    <a:cubicBezTo>
                      <a:pt x="13" y="20"/>
                      <a:pt x="10" y="168"/>
                      <a:pt x="10" y="168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36" name="Freeform 170">
                <a:extLst>
                  <a:ext uri="{FF2B5EF4-FFF2-40B4-BE49-F238E27FC236}">
                    <a16:creationId xmlns:a16="http://schemas.microsoft.com/office/drawing/2014/main" id="{B49C017B-9E28-44C3-B873-6838452931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06853" y="2106619"/>
                <a:ext cx="98425" cy="1320804"/>
              </a:xfrm>
              <a:custGeom>
                <a:avLst/>
                <a:gdLst>
                  <a:gd name="T0" fmla="*/ 26 w 26"/>
                  <a:gd name="T1" fmla="*/ 352 h 352"/>
                  <a:gd name="T2" fmla="*/ 7 w 26"/>
                  <a:gd name="T3" fmla="*/ 213 h 352"/>
                  <a:gd name="T4" fmla="*/ 7 w 26"/>
                  <a:gd name="T5" fmla="*/ 145 h 352"/>
                  <a:gd name="T6" fmla="*/ 0 w 26"/>
                  <a:gd name="T7" fmla="*/ 30 h 352"/>
                  <a:gd name="T8" fmla="*/ 10 w 26"/>
                  <a:gd name="T9" fmla="*/ 0 h 352"/>
                  <a:gd name="T10" fmla="*/ 10 w 26"/>
                  <a:gd name="T11" fmla="*/ 6 h 352"/>
                  <a:gd name="T12" fmla="*/ 26 w 26"/>
                  <a:gd name="T13" fmla="*/ 352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352">
                    <a:moveTo>
                      <a:pt x="26" y="352"/>
                    </a:moveTo>
                    <a:cubicBezTo>
                      <a:pt x="26" y="347"/>
                      <a:pt x="8" y="236"/>
                      <a:pt x="7" y="213"/>
                    </a:cubicBezTo>
                    <a:cubicBezTo>
                      <a:pt x="6" y="189"/>
                      <a:pt x="9" y="165"/>
                      <a:pt x="7" y="145"/>
                    </a:cubicBezTo>
                    <a:cubicBezTo>
                      <a:pt x="5" y="126"/>
                      <a:pt x="0" y="48"/>
                      <a:pt x="0" y="30"/>
                    </a:cubicBezTo>
                    <a:cubicBezTo>
                      <a:pt x="1" y="12"/>
                      <a:pt x="10" y="0"/>
                      <a:pt x="10" y="0"/>
                    </a:cubicBezTo>
                    <a:cubicBezTo>
                      <a:pt x="10" y="6"/>
                      <a:pt x="10" y="6"/>
                      <a:pt x="10" y="6"/>
                    </a:cubicBezTo>
                    <a:lnTo>
                      <a:pt x="26" y="352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37" name="Freeform 171">
                <a:extLst>
                  <a:ext uri="{FF2B5EF4-FFF2-40B4-BE49-F238E27FC236}">
                    <a16:creationId xmlns:a16="http://schemas.microsoft.com/office/drawing/2014/main" id="{3B0D1983-6E11-4D15-8294-439D0430CF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0476" y="3135321"/>
                <a:ext cx="222250" cy="58738"/>
              </a:xfrm>
              <a:custGeom>
                <a:avLst/>
                <a:gdLst>
                  <a:gd name="T0" fmla="*/ 0 w 59"/>
                  <a:gd name="T1" fmla="*/ 16 h 16"/>
                  <a:gd name="T2" fmla="*/ 52 w 59"/>
                  <a:gd name="T3" fmla="*/ 7 h 16"/>
                  <a:gd name="T4" fmla="*/ 59 w 59"/>
                  <a:gd name="T5" fmla="*/ 7 h 16"/>
                  <a:gd name="T6" fmla="*/ 0 w 59"/>
                  <a:gd name="T7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9" h="16">
                    <a:moveTo>
                      <a:pt x="0" y="16"/>
                    </a:moveTo>
                    <a:cubicBezTo>
                      <a:pt x="0" y="16"/>
                      <a:pt x="49" y="13"/>
                      <a:pt x="52" y="7"/>
                    </a:cubicBezTo>
                    <a:cubicBezTo>
                      <a:pt x="55" y="0"/>
                      <a:pt x="59" y="3"/>
                      <a:pt x="59" y="7"/>
                    </a:cubicBezTo>
                    <a:cubicBezTo>
                      <a:pt x="58" y="11"/>
                      <a:pt x="0" y="16"/>
                      <a:pt x="0" y="16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38" name="Freeform 172">
                <a:extLst>
                  <a:ext uri="{FF2B5EF4-FFF2-40B4-BE49-F238E27FC236}">
                    <a16:creationId xmlns:a16="http://schemas.microsoft.com/office/drawing/2014/main" id="{7C4E044A-7BD1-4043-A434-B55E839D73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7627" y="3224223"/>
                <a:ext cx="198440" cy="282574"/>
              </a:xfrm>
              <a:custGeom>
                <a:avLst/>
                <a:gdLst>
                  <a:gd name="T0" fmla="*/ 44 w 53"/>
                  <a:gd name="T1" fmla="*/ 0 h 75"/>
                  <a:gd name="T2" fmla="*/ 53 w 53"/>
                  <a:gd name="T3" fmla="*/ 75 h 75"/>
                  <a:gd name="T4" fmla="*/ 24 w 53"/>
                  <a:gd name="T5" fmla="*/ 75 h 75"/>
                  <a:gd name="T6" fmla="*/ 14 w 53"/>
                  <a:gd name="T7" fmla="*/ 69 h 75"/>
                  <a:gd name="T8" fmla="*/ 34 w 53"/>
                  <a:gd name="T9" fmla="*/ 61 h 75"/>
                  <a:gd name="T10" fmla="*/ 22 w 53"/>
                  <a:gd name="T11" fmla="*/ 38 h 75"/>
                  <a:gd name="T12" fmla="*/ 44 w 53"/>
                  <a:gd name="T1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3" h="75">
                    <a:moveTo>
                      <a:pt x="44" y="0"/>
                    </a:moveTo>
                    <a:cubicBezTo>
                      <a:pt x="53" y="75"/>
                      <a:pt x="53" y="75"/>
                      <a:pt x="53" y="75"/>
                    </a:cubicBezTo>
                    <a:cubicBezTo>
                      <a:pt x="24" y="75"/>
                      <a:pt x="24" y="75"/>
                      <a:pt x="24" y="75"/>
                    </a:cubicBezTo>
                    <a:cubicBezTo>
                      <a:pt x="24" y="75"/>
                      <a:pt x="0" y="69"/>
                      <a:pt x="14" y="69"/>
                    </a:cubicBezTo>
                    <a:cubicBezTo>
                      <a:pt x="29" y="68"/>
                      <a:pt x="42" y="73"/>
                      <a:pt x="34" y="61"/>
                    </a:cubicBezTo>
                    <a:cubicBezTo>
                      <a:pt x="27" y="48"/>
                      <a:pt x="6" y="41"/>
                      <a:pt x="22" y="38"/>
                    </a:cubicBezTo>
                    <a:cubicBezTo>
                      <a:pt x="38" y="34"/>
                      <a:pt x="44" y="0"/>
                      <a:pt x="44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39" name="Freeform 173">
                <a:extLst>
                  <a:ext uri="{FF2B5EF4-FFF2-40B4-BE49-F238E27FC236}">
                    <a16:creationId xmlns:a16="http://schemas.microsoft.com/office/drawing/2014/main" id="{5C41C23C-BB07-4696-A78E-9511406578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59122" y="2576519"/>
                <a:ext cx="60324" cy="490537"/>
              </a:xfrm>
              <a:custGeom>
                <a:avLst/>
                <a:gdLst>
                  <a:gd name="T0" fmla="*/ 0 w 38"/>
                  <a:gd name="T1" fmla="*/ 0 h 309"/>
                  <a:gd name="T2" fmla="*/ 29 w 38"/>
                  <a:gd name="T3" fmla="*/ 309 h 309"/>
                  <a:gd name="T4" fmla="*/ 38 w 38"/>
                  <a:gd name="T5" fmla="*/ 293 h 309"/>
                  <a:gd name="T6" fmla="*/ 0 w 38"/>
                  <a:gd name="T7" fmla="*/ 0 h 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8" h="309">
                    <a:moveTo>
                      <a:pt x="0" y="0"/>
                    </a:moveTo>
                    <a:lnTo>
                      <a:pt x="29" y="309"/>
                    </a:lnTo>
                    <a:lnTo>
                      <a:pt x="38" y="29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40" name="Freeform 174">
                <a:extLst>
                  <a:ext uri="{FF2B5EF4-FFF2-40B4-BE49-F238E27FC236}">
                    <a16:creationId xmlns:a16="http://schemas.microsoft.com/office/drawing/2014/main" id="{71D45640-7206-4B01-B9CF-E4E1161469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157549"/>
                <a:ext cx="288924" cy="93661"/>
              </a:xfrm>
              <a:custGeom>
                <a:avLst/>
                <a:gdLst>
                  <a:gd name="T0" fmla="*/ 0 w 77"/>
                  <a:gd name="T1" fmla="*/ 0 h 25"/>
                  <a:gd name="T2" fmla="*/ 75 w 77"/>
                  <a:gd name="T3" fmla="*/ 10 h 25"/>
                  <a:gd name="T4" fmla="*/ 68 w 77"/>
                  <a:gd name="T5" fmla="*/ 25 h 25"/>
                  <a:gd name="T6" fmla="*/ 0 w 77"/>
                  <a:gd name="T7" fmla="*/ 12 h 25"/>
                  <a:gd name="T8" fmla="*/ 0 w 77"/>
                  <a:gd name="T9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7" h="25">
                    <a:moveTo>
                      <a:pt x="0" y="0"/>
                    </a:moveTo>
                    <a:cubicBezTo>
                      <a:pt x="0" y="0"/>
                      <a:pt x="73" y="9"/>
                      <a:pt x="75" y="10"/>
                    </a:cubicBezTo>
                    <a:cubicBezTo>
                      <a:pt x="77" y="11"/>
                      <a:pt x="68" y="25"/>
                      <a:pt x="68" y="25"/>
                    </a:cubicBezTo>
                    <a:cubicBezTo>
                      <a:pt x="0" y="12"/>
                      <a:pt x="0" y="12"/>
                      <a:pt x="0" y="12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41" name="Freeform 175">
                <a:extLst>
                  <a:ext uri="{FF2B5EF4-FFF2-40B4-BE49-F238E27FC236}">
                    <a16:creationId xmlns:a16="http://schemas.microsoft.com/office/drawing/2014/main" id="{BECCB289-150F-44A0-959C-3715D800EF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333761"/>
                <a:ext cx="242887" cy="236537"/>
              </a:xfrm>
              <a:custGeom>
                <a:avLst/>
                <a:gdLst>
                  <a:gd name="T0" fmla="*/ 65 w 65"/>
                  <a:gd name="T1" fmla="*/ 0 h 63"/>
                  <a:gd name="T2" fmla="*/ 50 w 65"/>
                  <a:gd name="T3" fmla="*/ 60 h 63"/>
                  <a:gd name="T4" fmla="*/ 9 w 65"/>
                  <a:gd name="T5" fmla="*/ 52 h 63"/>
                  <a:gd name="T6" fmla="*/ 18 w 65"/>
                  <a:gd name="T7" fmla="*/ 46 h 63"/>
                  <a:gd name="T8" fmla="*/ 49 w 65"/>
                  <a:gd name="T9" fmla="*/ 46 h 63"/>
                  <a:gd name="T10" fmla="*/ 65 w 65"/>
                  <a:gd name="T11" fmla="*/ 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5" h="63">
                    <a:moveTo>
                      <a:pt x="65" y="0"/>
                    </a:moveTo>
                    <a:cubicBezTo>
                      <a:pt x="50" y="60"/>
                      <a:pt x="50" y="60"/>
                      <a:pt x="50" y="60"/>
                    </a:cubicBezTo>
                    <a:cubicBezTo>
                      <a:pt x="9" y="52"/>
                      <a:pt x="9" y="52"/>
                      <a:pt x="9" y="52"/>
                    </a:cubicBezTo>
                    <a:cubicBezTo>
                      <a:pt x="9" y="52"/>
                      <a:pt x="0" y="47"/>
                      <a:pt x="18" y="46"/>
                    </a:cubicBezTo>
                    <a:cubicBezTo>
                      <a:pt x="36" y="46"/>
                      <a:pt x="48" y="63"/>
                      <a:pt x="49" y="46"/>
                    </a:cubicBezTo>
                    <a:cubicBezTo>
                      <a:pt x="50" y="30"/>
                      <a:pt x="65" y="0"/>
                      <a:pt x="65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42" name="Freeform 176">
                <a:extLst>
                  <a:ext uri="{FF2B5EF4-FFF2-40B4-BE49-F238E27FC236}">
                    <a16:creationId xmlns:a16="http://schemas.microsoft.com/office/drawing/2014/main" id="{35CC5659-DC8F-4462-9C1E-704D0B4979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0183" y="2201870"/>
                <a:ext cx="41274" cy="168276"/>
              </a:xfrm>
              <a:custGeom>
                <a:avLst/>
                <a:gdLst>
                  <a:gd name="T0" fmla="*/ 0 w 11"/>
                  <a:gd name="T1" fmla="*/ 0 h 45"/>
                  <a:gd name="T2" fmla="*/ 0 w 11"/>
                  <a:gd name="T3" fmla="*/ 21 h 45"/>
                  <a:gd name="T4" fmla="*/ 2 w 11"/>
                  <a:gd name="T5" fmla="*/ 42 h 45"/>
                  <a:gd name="T6" fmla="*/ 10 w 11"/>
                  <a:gd name="T7" fmla="*/ 5 h 45"/>
                  <a:gd name="T8" fmla="*/ 0 w 11"/>
                  <a:gd name="T9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45">
                    <a:moveTo>
                      <a:pt x="0" y="0"/>
                    </a:moveTo>
                    <a:cubicBezTo>
                      <a:pt x="0" y="5"/>
                      <a:pt x="0" y="13"/>
                      <a:pt x="0" y="21"/>
                    </a:cubicBezTo>
                    <a:cubicBezTo>
                      <a:pt x="1" y="31"/>
                      <a:pt x="2" y="41"/>
                      <a:pt x="2" y="42"/>
                    </a:cubicBezTo>
                    <a:cubicBezTo>
                      <a:pt x="4" y="45"/>
                      <a:pt x="11" y="8"/>
                      <a:pt x="10" y="5"/>
                    </a:cubicBezTo>
                    <a:cubicBezTo>
                      <a:pt x="8" y="2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43" name="Freeform 177">
                <a:extLst>
                  <a:ext uri="{FF2B5EF4-FFF2-40B4-BE49-F238E27FC236}">
                    <a16:creationId xmlns:a16="http://schemas.microsoft.com/office/drawing/2014/main" id="{39C3A239-B0E6-4BFD-9D1D-264926EB54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1758" y="2786069"/>
                <a:ext cx="150812" cy="352425"/>
              </a:xfrm>
              <a:custGeom>
                <a:avLst/>
                <a:gdLst>
                  <a:gd name="T0" fmla="*/ 0 w 40"/>
                  <a:gd name="T1" fmla="*/ 0 h 94"/>
                  <a:gd name="T2" fmla="*/ 20 w 40"/>
                  <a:gd name="T3" fmla="*/ 64 h 94"/>
                  <a:gd name="T4" fmla="*/ 36 w 40"/>
                  <a:gd name="T5" fmla="*/ 82 h 94"/>
                  <a:gd name="T6" fmla="*/ 14 w 40"/>
                  <a:gd name="T7" fmla="*/ 26 h 94"/>
                  <a:gd name="T8" fmla="*/ 0 w 40"/>
                  <a:gd name="T9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94">
                    <a:moveTo>
                      <a:pt x="0" y="0"/>
                    </a:moveTo>
                    <a:cubicBezTo>
                      <a:pt x="0" y="0"/>
                      <a:pt x="12" y="47"/>
                      <a:pt x="20" y="64"/>
                    </a:cubicBezTo>
                    <a:cubicBezTo>
                      <a:pt x="28" y="82"/>
                      <a:pt x="40" y="94"/>
                      <a:pt x="36" y="82"/>
                    </a:cubicBezTo>
                    <a:cubicBezTo>
                      <a:pt x="32" y="69"/>
                      <a:pt x="20" y="36"/>
                      <a:pt x="14" y="26"/>
                    </a:cubicBezTo>
                    <a:cubicBezTo>
                      <a:pt x="9" y="1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44" name="Freeform 178">
                <a:extLst>
                  <a:ext uri="{FF2B5EF4-FFF2-40B4-BE49-F238E27FC236}">
                    <a16:creationId xmlns:a16="http://schemas.microsoft.com/office/drawing/2014/main" id="{50225882-BE9E-4881-9AF7-6951993CE5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9736" y="2860684"/>
                <a:ext cx="49214" cy="247650"/>
              </a:xfrm>
              <a:custGeom>
                <a:avLst/>
                <a:gdLst>
                  <a:gd name="T0" fmla="*/ 0 w 13"/>
                  <a:gd name="T1" fmla="*/ 0 h 66"/>
                  <a:gd name="T2" fmla="*/ 10 w 13"/>
                  <a:gd name="T3" fmla="*/ 31 h 66"/>
                  <a:gd name="T4" fmla="*/ 6 w 13"/>
                  <a:gd name="T5" fmla="*/ 50 h 66"/>
                  <a:gd name="T6" fmla="*/ 0 w 13"/>
                  <a:gd name="T7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66">
                    <a:moveTo>
                      <a:pt x="0" y="0"/>
                    </a:moveTo>
                    <a:cubicBezTo>
                      <a:pt x="0" y="0"/>
                      <a:pt x="13" y="15"/>
                      <a:pt x="10" y="31"/>
                    </a:cubicBezTo>
                    <a:cubicBezTo>
                      <a:pt x="8" y="47"/>
                      <a:pt x="5" y="66"/>
                      <a:pt x="6" y="50"/>
                    </a:cubicBezTo>
                    <a:cubicBezTo>
                      <a:pt x="6" y="3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45" name="Freeform 188">
                <a:extLst>
                  <a:ext uri="{FF2B5EF4-FFF2-40B4-BE49-F238E27FC236}">
                    <a16:creationId xmlns:a16="http://schemas.microsoft.com/office/drawing/2014/main" id="{24D9B877-6A5D-400C-9769-CDF847816B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01994" y="1544640"/>
                <a:ext cx="349252" cy="131762"/>
              </a:xfrm>
              <a:custGeom>
                <a:avLst/>
                <a:gdLst>
                  <a:gd name="T0" fmla="*/ 0 w 93"/>
                  <a:gd name="T1" fmla="*/ 0 h 35"/>
                  <a:gd name="T2" fmla="*/ 33 w 93"/>
                  <a:gd name="T3" fmla="*/ 29 h 35"/>
                  <a:gd name="T4" fmla="*/ 68 w 93"/>
                  <a:gd name="T5" fmla="*/ 24 h 35"/>
                  <a:gd name="T6" fmla="*/ 85 w 93"/>
                  <a:gd name="T7" fmla="*/ 7 h 35"/>
                  <a:gd name="T8" fmla="*/ 92 w 93"/>
                  <a:gd name="T9" fmla="*/ 6 h 35"/>
                  <a:gd name="T10" fmla="*/ 85 w 93"/>
                  <a:gd name="T11" fmla="*/ 19 h 35"/>
                  <a:gd name="T12" fmla="*/ 67 w 93"/>
                  <a:gd name="T13" fmla="*/ 32 h 35"/>
                  <a:gd name="T14" fmla="*/ 28 w 93"/>
                  <a:gd name="T15" fmla="*/ 32 h 35"/>
                  <a:gd name="T16" fmla="*/ 0 w 93"/>
                  <a:gd name="T17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3" h="35">
                    <a:moveTo>
                      <a:pt x="0" y="0"/>
                    </a:moveTo>
                    <a:cubicBezTo>
                      <a:pt x="2" y="4"/>
                      <a:pt x="21" y="25"/>
                      <a:pt x="33" y="29"/>
                    </a:cubicBezTo>
                    <a:cubicBezTo>
                      <a:pt x="45" y="32"/>
                      <a:pt x="63" y="29"/>
                      <a:pt x="68" y="24"/>
                    </a:cubicBezTo>
                    <a:cubicBezTo>
                      <a:pt x="73" y="19"/>
                      <a:pt x="84" y="9"/>
                      <a:pt x="85" y="7"/>
                    </a:cubicBezTo>
                    <a:cubicBezTo>
                      <a:pt x="86" y="5"/>
                      <a:pt x="93" y="1"/>
                      <a:pt x="92" y="6"/>
                    </a:cubicBezTo>
                    <a:cubicBezTo>
                      <a:pt x="91" y="10"/>
                      <a:pt x="89" y="14"/>
                      <a:pt x="85" y="19"/>
                    </a:cubicBezTo>
                    <a:cubicBezTo>
                      <a:pt x="82" y="24"/>
                      <a:pt x="75" y="33"/>
                      <a:pt x="67" y="32"/>
                    </a:cubicBezTo>
                    <a:cubicBezTo>
                      <a:pt x="58" y="32"/>
                      <a:pt x="36" y="35"/>
                      <a:pt x="28" y="32"/>
                    </a:cubicBezTo>
                    <a:cubicBezTo>
                      <a:pt x="19" y="3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46" name="Freeform 103">
                <a:extLst>
                  <a:ext uri="{FF2B5EF4-FFF2-40B4-BE49-F238E27FC236}">
                    <a16:creationId xmlns:a16="http://schemas.microsoft.com/office/drawing/2014/main" id="{64AB1799-AF2B-4717-AB86-C14B969FE8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3697" y="1061826"/>
                <a:ext cx="226796" cy="66888"/>
              </a:xfrm>
              <a:custGeom>
                <a:avLst/>
                <a:gdLst>
                  <a:gd name="T0" fmla="*/ 9 w 49"/>
                  <a:gd name="T1" fmla="*/ 1 h 23"/>
                  <a:gd name="T2" fmla="*/ 24 w 49"/>
                  <a:gd name="T3" fmla="*/ 8 h 23"/>
                  <a:gd name="T4" fmla="*/ 31 w 49"/>
                  <a:gd name="T5" fmla="*/ 7 h 23"/>
                  <a:gd name="T6" fmla="*/ 44 w 49"/>
                  <a:gd name="T7" fmla="*/ 17 h 23"/>
                  <a:gd name="T8" fmla="*/ 37 w 49"/>
                  <a:gd name="T9" fmla="*/ 17 h 23"/>
                  <a:gd name="T10" fmla="*/ 13 w 49"/>
                  <a:gd name="T11" fmla="*/ 10 h 23"/>
                  <a:gd name="T12" fmla="*/ 9 w 49"/>
                  <a:gd name="T13" fmla="*/ 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" h="23">
                    <a:moveTo>
                      <a:pt x="9" y="1"/>
                    </a:moveTo>
                    <a:cubicBezTo>
                      <a:pt x="9" y="1"/>
                      <a:pt x="20" y="7"/>
                      <a:pt x="24" y="8"/>
                    </a:cubicBezTo>
                    <a:cubicBezTo>
                      <a:pt x="28" y="9"/>
                      <a:pt x="31" y="9"/>
                      <a:pt x="31" y="7"/>
                    </a:cubicBezTo>
                    <a:cubicBezTo>
                      <a:pt x="31" y="4"/>
                      <a:pt x="40" y="11"/>
                      <a:pt x="44" y="17"/>
                    </a:cubicBezTo>
                    <a:cubicBezTo>
                      <a:pt x="49" y="23"/>
                      <a:pt x="44" y="21"/>
                      <a:pt x="37" y="17"/>
                    </a:cubicBezTo>
                    <a:cubicBezTo>
                      <a:pt x="30" y="13"/>
                      <a:pt x="20" y="15"/>
                      <a:pt x="13" y="10"/>
                    </a:cubicBezTo>
                    <a:cubicBezTo>
                      <a:pt x="6" y="5"/>
                      <a:pt x="0" y="0"/>
                      <a:pt x="9" y="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47" name="Freeform 104">
                <a:extLst>
                  <a:ext uri="{FF2B5EF4-FFF2-40B4-BE49-F238E27FC236}">
                    <a16:creationId xmlns:a16="http://schemas.microsoft.com/office/drawing/2014/main" id="{2391D412-6160-4A54-BC77-09A04974B312}"/>
                  </a:ext>
                </a:extLst>
              </p:cNvPr>
              <p:cNvSpPr>
                <a:spLocks/>
              </p:cNvSpPr>
              <p:nvPr/>
            </p:nvSpPr>
            <p:spPr bwMode="auto">
              <a:xfrm rot="18643239">
                <a:off x="3555600" y="1040771"/>
                <a:ext cx="87944" cy="175885"/>
              </a:xfrm>
              <a:custGeom>
                <a:avLst/>
                <a:gdLst>
                  <a:gd name="T0" fmla="*/ 12 w 30"/>
                  <a:gd name="T1" fmla="*/ 25 h 60"/>
                  <a:gd name="T2" fmla="*/ 20 w 30"/>
                  <a:gd name="T3" fmla="*/ 19 h 60"/>
                  <a:gd name="T4" fmla="*/ 22 w 30"/>
                  <a:gd name="T5" fmla="*/ 4 h 60"/>
                  <a:gd name="T6" fmla="*/ 24 w 30"/>
                  <a:gd name="T7" fmla="*/ 26 h 60"/>
                  <a:gd name="T8" fmla="*/ 21 w 30"/>
                  <a:gd name="T9" fmla="*/ 37 h 60"/>
                  <a:gd name="T10" fmla="*/ 14 w 30"/>
                  <a:gd name="T11" fmla="*/ 48 h 60"/>
                  <a:gd name="T12" fmla="*/ 8 w 30"/>
                  <a:gd name="T13" fmla="*/ 35 h 60"/>
                  <a:gd name="T14" fmla="*/ 12 w 30"/>
                  <a:gd name="T15" fmla="*/ 25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60">
                    <a:moveTo>
                      <a:pt x="12" y="25"/>
                    </a:moveTo>
                    <a:cubicBezTo>
                      <a:pt x="12" y="25"/>
                      <a:pt x="17" y="24"/>
                      <a:pt x="20" y="19"/>
                    </a:cubicBezTo>
                    <a:cubicBezTo>
                      <a:pt x="24" y="14"/>
                      <a:pt x="22" y="8"/>
                      <a:pt x="22" y="4"/>
                    </a:cubicBezTo>
                    <a:cubicBezTo>
                      <a:pt x="21" y="0"/>
                      <a:pt x="30" y="16"/>
                      <a:pt x="24" y="26"/>
                    </a:cubicBezTo>
                    <a:cubicBezTo>
                      <a:pt x="24" y="26"/>
                      <a:pt x="21" y="34"/>
                      <a:pt x="21" y="37"/>
                    </a:cubicBezTo>
                    <a:cubicBezTo>
                      <a:pt x="21" y="40"/>
                      <a:pt x="20" y="46"/>
                      <a:pt x="14" y="48"/>
                    </a:cubicBezTo>
                    <a:cubicBezTo>
                      <a:pt x="8" y="50"/>
                      <a:pt x="0" y="60"/>
                      <a:pt x="8" y="35"/>
                    </a:cubicBezTo>
                    <a:lnTo>
                      <a:pt x="12" y="25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</p:grpSp>
      <p:grpSp>
        <p:nvGrpSpPr>
          <p:cNvPr id="6217" name="Groupe 597">
            <a:extLst>
              <a:ext uri="{FF2B5EF4-FFF2-40B4-BE49-F238E27FC236}">
                <a16:creationId xmlns:a16="http://schemas.microsoft.com/office/drawing/2014/main" id="{77A052FA-FB29-41B6-B33A-1FD47264495E}"/>
              </a:ext>
            </a:extLst>
          </p:cNvPr>
          <p:cNvGrpSpPr>
            <a:grpSpLocks/>
          </p:cNvGrpSpPr>
          <p:nvPr/>
        </p:nvGrpSpPr>
        <p:grpSpPr bwMode="auto">
          <a:xfrm>
            <a:off x="32291212" y="1880713"/>
            <a:ext cx="2752725" cy="2506663"/>
            <a:chOff x="2017429" y="744535"/>
            <a:chExt cx="653239" cy="574556"/>
          </a:xfrm>
        </p:grpSpPr>
        <p:sp>
          <p:nvSpPr>
            <p:cNvPr id="599" name="Ellipse 598">
              <a:extLst>
                <a:ext uri="{FF2B5EF4-FFF2-40B4-BE49-F238E27FC236}">
                  <a16:creationId xmlns:a16="http://schemas.microsoft.com/office/drawing/2014/main" id="{88047BFB-07DB-4430-B80C-06351D1217F4}"/>
                </a:ext>
              </a:extLst>
            </p:cNvPr>
            <p:cNvSpPr/>
            <p:nvPr/>
          </p:nvSpPr>
          <p:spPr bwMode="auto">
            <a:xfrm>
              <a:off x="2017429" y="855228"/>
              <a:ext cx="653239" cy="463863"/>
            </a:xfrm>
            <a:prstGeom prst="ellipse">
              <a:avLst/>
            </a:prstGeom>
            <a:solidFill>
              <a:schemeClr val="accent3">
                <a:lumMod val="60000"/>
                <a:lumOff val="40000"/>
              </a:schemeClr>
            </a:solidFill>
            <a:ln w="76200">
              <a:noFill/>
              <a:round/>
              <a:headEnd/>
              <a:tailEnd/>
            </a:ln>
            <a:effectLst>
              <a:outerShdw blurRad="419100" dist="38100" dir="5400000" sx="107000" sy="107000" algn="t" rotWithShape="0">
                <a:prstClr val="black">
                  <a:alpha val="34000"/>
                </a:prstClr>
              </a:outerShdw>
            </a:effectLst>
            <a:scene3d>
              <a:camera prst="perspectiveRelaxedModerately">
                <a:rot lat="17390630" lon="0" rev="0"/>
              </a:camera>
              <a:lightRig rig="threePt" dir="t"/>
            </a:scene3d>
            <a:sp3d extrusionH="190500" prstMaterial="matte"/>
          </p:spPr>
          <p:txBody>
            <a:bodyPr lIns="0" tIns="0" rIns="0" bIns="0" anchor="ctr"/>
            <a:lstStyle/>
            <a:p>
              <a:pPr algn="ctr" defTabSz="4280752" eaLnBrk="1" fontAlgn="auto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7200" b="1" kern="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pic>
          <p:nvPicPr>
            <p:cNvPr id="600" name="_effect" descr="C:\Users\marc.h\Desktop\Schatten-TEST.png">
              <a:extLst>
                <a:ext uri="{FF2B5EF4-FFF2-40B4-BE49-F238E27FC236}">
                  <a16:creationId xmlns:a16="http://schemas.microsoft.com/office/drawing/2014/main" id="{DE421ADF-09D9-4461-AAF3-6573B1DE462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 flipH="1">
              <a:off x="2114624" y="1056011"/>
              <a:ext cx="441520" cy="66225"/>
            </a:xfrm>
            <a:prstGeom prst="rect">
              <a:avLst/>
            </a:prstGeom>
            <a:noFill/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</p:pic>
        <p:grpSp>
          <p:nvGrpSpPr>
            <p:cNvPr id="601" name="Gruppieren 96">
              <a:extLst>
                <a:ext uri="{FF2B5EF4-FFF2-40B4-BE49-F238E27FC236}">
                  <a16:creationId xmlns:a16="http://schemas.microsoft.com/office/drawing/2014/main" id="{43B6D06C-7236-4FFA-85A2-1E746A66B68C}"/>
                </a:ext>
              </a:extLst>
            </p:cNvPr>
            <p:cNvGrpSpPr/>
            <p:nvPr/>
          </p:nvGrpSpPr>
          <p:grpSpPr>
            <a:xfrm>
              <a:off x="2108167" y="758012"/>
              <a:ext cx="159492" cy="328959"/>
              <a:chOff x="2519371" y="955678"/>
              <a:chExt cx="1695457" cy="4968890"/>
            </a:xfrm>
            <a:solidFill>
              <a:schemeClr val="tx1"/>
            </a:solidFill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grpSpPr>
          <p:sp>
            <p:nvSpPr>
              <p:cNvPr id="640" name="Freeform 156">
                <a:extLst>
                  <a:ext uri="{FF2B5EF4-FFF2-40B4-BE49-F238E27FC236}">
                    <a16:creationId xmlns:a16="http://schemas.microsoft.com/office/drawing/2014/main" id="{6A0BABC7-1F92-4036-87C9-335A233D8D0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84626" y="3435360"/>
                <a:ext cx="269878" cy="404813"/>
              </a:xfrm>
              <a:custGeom>
                <a:avLst/>
                <a:gdLst>
                  <a:gd name="T0" fmla="*/ 29 w 72"/>
                  <a:gd name="T1" fmla="*/ 0 h 108"/>
                  <a:gd name="T2" fmla="*/ 37 w 72"/>
                  <a:gd name="T3" fmla="*/ 0 h 108"/>
                  <a:gd name="T4" fmla="*/ 68 w 72"/>
                  <a:gd name="T5" fmla="*/ 6 h 108"/>
                  <a:gd name="T6" fmla="*/ 70 w 72"/>
                  <a:gd name="T7" fmla="*/ 58 h 108"/>
                  <a:gd name="T8" fmla="*/ 60 w 72"/>
                  <a:gd name="T9" fmla="*/ 78 h 108"/>
                  <a:gd name="T10" fmla="*/ 14 w 72"/>
                  <a:gd name="T11" fmla="*/ 108 h 108"/>
                  <a:gd name="T12" fmla="*/ 5 w 72"/>
                  <a:gd name="T13" fmla="*/ 102 h 108"/>
                  <a:gd name="T14" fmla="*/ 13 w 72"/>
                  <a:gd name="T15" fmla="*/ 80 h 108"/>
                  <a:gd name="T16" fmla="*/ 15 w 72"/>
                  <a:gd name="T17" fmla="*/ 6 h 108"/>
                  <a:gd name="T18" fmla="*/ 29 w 72"/>
                  <a:gd name="T19" fmla="*/ 0 h 108"/>
                  <a:gd name="T20" fmla="*/ 28 w 72"/>
                  <a:gd name="T21" fmla="*/ 81 h 108"/>
                  <a:gd name="T22" fmla="*/ 41 w 72"/>
                  <a:gd name="T23" fmla="*/ 53 h 108"/>
                  <a:gd name="T24" fmla="*/ 33 w 72"/>
                  <a:gd name="T25" fmla="*/ 51 h 108"/>
                  <a:gd name="T26" fmla="*/ 28 w 72"/>
                  <a:gd name="T27" fmla="*/ 81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2" h="108">
                    <a:moveTo>
                      <a:pt x="29" y="0"/>
                    </a:moveTo>
                    <a:cubicBezTo>
                      <a:pt x="32" y="0"/>
                      <a:pt x="34" y="0"/>
                      <a:pt x="37" y="0"/>
                    </a:cubicBezTo>
                    <a:cubicBezTo>
                      <a:pt x="45" y="3"/>
                      <a:pt x="60" y="2"/>
                      <a:pt x="68" y="6"/>
                    </a:cubicBezTo>
                    <a:cubicBezTo>
                      <a:pt x="67" y="23"/>
                      <a:pt x="72" y="43"/>
                      <a:pt x="70" y="58"/>
                    </a:cubicBezTo>
                    <a:cubicBezTo>
                      <a:pt x="68" y="65"/>
                      <a:pt x="63" y="72"/>
                      <a:pt x="60" y="78"/>
                    </a:cubicBezTo>
                    <a:cubicBezTo>
                      <a:pt x="49" y="98"/>
                      <a:pt x="39" y="102"/>
                      <a:pt x="14" y="108"/>
                    </a:cubicBezTo>
                    <a:cubicBezTo>
                      <a:pt x="17" y="101"/>
                      <a:pt x="5" y="107"/>
                      <a:pt x="5" y="102"/>
                    </a:cubicBezTo>
                    <a:cubicBezTo>
                      <a:pt x="0" y="90"/>
                      <a:pt x="6" y="87"/>
                      <a:pt x="13" y="80"/>
                    </a:cubicBezTo>
                    <a:cubicBezTo>
                      <a:pt x="15" y="57"/>
                      <a:pt x="13" y="28"/>
                      <a:pt x="15" y="6"/>
                    </a:cubicBezTo>
                    <a:cubicBezTo>
                      <a:pt x="20" y="3"/>
                      <a:pt x="29" y="6"/>
                      <a:pt x="29" y="0"/>
                    </a:cubicBezTo>
                    <a:close/>
                    <a:moveTo>
                      <a:pt x="28" y="81"/>
                    </a:moveTo>
                    <a:cubicBezTo>
                      <a:pt x="41" y="81"/>
                      <a:pt x="43" y="67"/>
                      <a:pt x="41" y="53"/>
                    </a:cubicBezTo>
                    <a:cubicBezTo>
                      <a:pt x="37" y="54"/>
                      <a:pt x="37" y="51"/>
                      <a:pt x="33" y="51"/>
                    </a:cubicBezTo>
                    <a:cubicBezTo>
                      <a:pt x="30" y="61"/>
                      <a:pt x="32" y="75"/>
                      <a:pt x="28" y="8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41" name="Freeform 159">
                <a:extLst>
                  <a:ext uri="{FF2B5EF4-FFF2-40B4-BE49-F238E27FC236}">
                    <a16:creationId xmlns:a16="http://schemas.microsoft.com/office/drawing/2014/main" id="{FCDBC202-C3A7-4E89-9A5D-B48F20F348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9775" y="5519755"/>
                <a:ext cx="539752" cy="404813"/>
              </a:xfrm>
              <a:custGeom>
                <a:avLst/>
                <a:gdLst>
                  <a:gd name="T0" fmla="*/ 19 w 144"/>
                  <a:gd name="T1" fmla="*/ 0 h 108"/>
                  <a:gd name="T2" fmla="*/ 21 w 144"/>
                  <a:gd name="T3" fmla="*/ 0 h 108"/>
                  <a:gd name="T4" fmla="*/ 55 w 144"/>
                  <a:gd name="T5" fmla="*/ 19 h 108"/>
                  <a:gd name="T6" fmla="*/ 139 w 144"/>
                  <a:gd name="T7" fmla="*/ 47 h 108"/>
                  <a:gd name="T8" fmla="*/ 144 w 144"/>
                  <a:gd name="T9" fmla="*/ 62 h 108"/>
                  <a:gd name="T10" fmla="*/ 144 w 144"/>
                  <a:gd name="T11" fmla="*/ 66 h 108"/>
                  <a:gd name="T12" fmla="*/ 137 w 144"/>
                  <a:gd name="T13" fmla="*/ 88 h 108"/>
                  <a:gd name="T14" fmla="*/ 105 w 144"/>
                  <a:gd name="T15" fmla="*/ 91 h 108"/>
                  <a:gd name="T16" fmla="*/ 100 w 144"/>
                  <a:gd name="T17" fmla="*/ 103 h 108"/>
                  <a:gd name="T18" fmla="*/ 90 w 144"/>
                  <a:gd name="T19" fmla="*/ 108 h 108"/>
                  <a:gd name="T20" fmla="*/ 82 w 144"/>
                  <a:gd name="T21" fmla="*/ 108 h 108"/>
                  <a:gd name="T22" fmla="*/ 31 w 144"/>
                  <a:gd name="T23" fmla="*/ 100 h 108"/>
                  <a:gd name="T24" fmla="*/ 32 w 144"/>
                  <a:gd name="T25" fmla="*/ 73 h 108"/>
                  <a:gd name="T26" fmla="*/ 0 w 144"/>
                  <a:gd name="T27" fmla="*/ 65 h 108"/>
                  <a:gd name="T28" fmla="*/ 0 w 144"/>
                  <a:gd name="T29" fmla="*/ 51 h 108"/>
                  <a:gd name="T30" fmla="*/ 11 w 144"/>
                  <a:gd name="T31" fmla="*/ 12 h 108"/>
                  <a:gd name="T32" fmla="*/ 19 w 144"/>
                  <a:gd name="T33" fmla="*/ 0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4" h="108">
                    <a:moveTo>
                      <a:pt x="19" y="0"/>
                    </a:moveTo>
                    <a:cubicBezTo>
                      <a:pt x="19" y="0"/>
                      <a:pt x="20" y="0"/>
                      <a:pt x="21" y="0"/>
                    </a:cubicBezTo>
                    <a:cubicBezTo>
                      <a:pt x="33" y="7"/>
                      <a:pt x="45" y="13"/>
                      <a:pt x="55" y="19"/>
                    </a:cubicBezTo>
                    <a:cubicBezTo>
                      <a:pt x="92" y="2"/>
                      <a:pt x="120" y="31"/>
                      <a:pt x="139" y="47"/>
                    </a:cubicBezTo>
                    <a:cubicBezTo>
                      <a:pt x="141" y="52"/>
                      <a:pt x="141" y="58"/>
                      <a:pt x="144" y="62"/>
                    </a:cubicBezTo>
                    <a:cubicBezTo>
                      <a:pt x="144" y="63"/>
                      <a:pt x="144" y="65"/>
                      <a:pt x="144" y="66"/>
                    </a:cubicBezTo>
                    <a:cubicBezTo>
                      <a:pt x="142" y="75"/>
                      <a:pt x="141" y="83"/>
                      <a:pt x="137" y="88"/>
                    </a:cubicBezTo>
                    <a:cubicBezTo>
                      <a:pt x="124" y="87"/>
                      <a:pt x="117" y="91"/>
                      <a:pt x="105" y="91"/>
                    </a:cubicBezTo>
                    <a:cubicBezTo>
                      <a:pt x="99" y="91"/>
                      <a:pt x="104" y="101"/>
                      <a:pt x="100" y="103"/>
                    </a:cubicBezTo>
                    <a:cubicBezTo>
                      <a:pt x="96" y="105"/>
                      <a:pt x="91" y="106"/>
                      <a:pt x="90" y="108"/>
                    </a:cubicBezTo>
                    <a:cubicBezTo>
                      <a:pt x="87" y="108"/>
                      <a:pt x="84" y="108"/>
                      <a:pt x="82" y="108"/>
                    </a:cubicBezTo>
                    <a:cubicBezTo>
                      <a:pt x="66" y="105"/>
                      <a:pt x="41" y="108"/>
                      <a:pt x="31" y="100"/>
                    </a:cubicBezTo>
                    <a:cubicBezTo>
                      <a:pt x="27" y="90"/>
                      <a:pt x="33" y="85"/>
                      <a:pt x="32" y="73"/>
                    </a:cubicBezTo>
                    <a:cubicBezTo>
                      <a:pt x="23" y="75"/>
                      <a:pt x="8" y="71"/>
                      <a:pt x="0" y="65"/>
                    </a:cubicBezTo>
                    <a:cubicBezTo>
                      <a:pt x="0" y="61"/>
                      <a:pt x="0" y="56"/>
                      <a:pt x="0" y="51"/>
                    </a:cubicBezTo>
                    <a:cubicBezTo>
                      <a:pt x="6" y="39"/>
                      <a:pt x="14" y="27"/>
                      <a:pt x="11" y="12"/>
                    </a:cubicBezTo>
                    <a:cubicBezTo>
                      <a:pt x="11" y="7"/>
                      <a:pt x="18" y="6"/>
                      <a:pt x="19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42" name="Freeform 160">
                <a:extLst>
                  <a:ext uri="{FF2B5EF4-FFF2-40B4-BE49-F238E27FC236}">
                    <a16:creationId xmlns:a16="http://schemas.microsoft.com/office/drawing/2014/main" id="{A76F4C91-3341-44B3-95A2-38CCD4AECB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014673"/>
                <a:ext cx="1109668" cy="2805120"/>
              </a:xfrm>
              <a:custGeom>
                <a:avLst/>
                <a:gdLst>
                  <a:gd name="T0" fmla="*/ 0 w 296"/>
                  <a:gd name="T1" fmla="*/ 188 h 748"/>
                  <a:gd name="T2" fmla="*/ 0 w 296"/>
                  <a:gd name="T3" fmla="*/ 183 h 748"/>
                  <a:gd name="T4" fmla="*/ 12 w 296"/>
                  <a:gd name="T5" fmla="*/ 166 h 748"/>
                  <a:gd name="T6" fmla="*/ 103 w 296"/>
                  <a:gd name="T7" fmla="*/ 169 h 748"/>
                  <a:gd name="T8" fmla="*/ 143 w 296"/>
                  <a:gd name="T9" fmla="*/ 9 h 748"/>
                  <a:gd name="T10" fmla="*/ 191 w 296"/>
                  <a:gd name="T11" fmla="*/ 11 h 748"/>
                  <a:gd name="T12" fmla="*/ 225 w 296"/>
                  <a:gd name="T13" fmla="*/ 112 h 748"/>
                  <a:gd name="T14" fmla="*/ 245 w 296"/>
                  <a:gd name="T15" fmla="*/ 133 h 748"/>
                  <a:gd name="T16" fmla="*/ 268 w 296"/>
                  <a:gd name="T17" fmla="*/ 153 h 748"/>
                  <a:gd name="T18" fmla="*/ 296 w 296"/>
                  <a:gd name="T19" fmla="*/ 153 h 748"/>
                  <a:gd name="T20" fmla="*/ 275 w 296"/>
                  <a:gd name="T21" fmla="*/ 276 h 748"/>
                  <a:gd name="T22" fmla="*/ 268 w 296"/>
                  <a:gd name="T23" fmla="*/ 288 h 748"/>
                  <a:gd name="T24" fmla="*/ 264 w 296"/>
                  <a:gd name="T25" fmla="*/ 303 h 748"/>
                  <a:gd name="T26" fmla="*/ 253 w 296"/>
                  <a:gd name="T27" fmla="*/ 328 h 748"/>
                  <a:gd name="T28" fmla="*/ 256 w 296"/>
                  <a:gd name="T29" fmla="*/ 354 h 748"/>
                  <a:gd name="T30" fmla="*/ 252 w 296"/>
                  <a:gd name="T31" fmla="*/ 418 h 748"/>
                  <a:gd name="T32" fmla="*/ 249 w 296"/>
                  <a:gd name="T33" fmla="*/ 514 h 748"/>
                  <a:gd name="T34" fmla="*/ 237 w 296"/>
                  <a:gd name="T35" fmla="*/ 577 h 748"/>
                  <a:gd name="T36" fmla="*/ 223 w 296"/>
                  <a:gd name="T37" fmla="*/ 604 h 748"/>
                  <a:gd name="T38" fmla="*/ 215 w 296"/>
                  <a:gd name="T39" fmla="*/ 633 h 748"/>
                  <a:gd name="T40" fmla="*/ 207 w 296"/>
                  <a:gd name="T41" fmla="*/ 662 h 748"/>
                  <a:gd name="T42" fmla="*/ 222 w 296"/>
                  <a:gd name="T43" fmla="*/ 707 h 748"/>
                  <a:gd name="T44" fmla="*/ 182 w 296"/>
                  <a:gd name="T45" fmla="*/ 689 h 748"/>
                  <a:gd name="T46" fmla="*/ 122 w 296"/>
                  <a:gd name="T47" fmla="*/ 748 h 748"/>
                  <a:gd name="T48" fmla="*/ 114 w 296"/>
                  <a:gd name="T49" fmla="*/ 677 h 748"/>
                  <a:gd name="T50" fmla="*/ 97 w 296"/>
                  <a:gd name="T51" fmla="*/ 672 h 748"/>
                  <a:gd name="T52" fmla="*/ 97 w 296"/>
                  <a:gd name="T53" fmla="*/ 609 h 748"/>
                  <a:gd name="T54" fmla="*/ 86 w 296"/>
                  <a:gd name="T55" fmla="*/ 588 h 748"/>
                  <a:gd name="T56" fmla="*/ 64 w 296"/>
                  <a:gd name="T57" fmla="*/ 525 h 748"/>
                  <a:gd name="T58" fmla="*/ 35 w 296"/>
                  <a:gd name="T59" fmla="*/ 383 h 748"/>
                  <a:gd name="T60" fmla="*/ 19 w 296"/>
                  <a:gd name="T61" fmla="*/ 285 h 748"/>
                  <a:gd name="T62" fmla="*/ 0 w 296"/>
                  <a:gd name="T63" fmla="*/ 188 h 7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96" h="748">
                    <a:moveTo>
                      <a:pt x="0" y="188"/>
                    </a:moveTo>
                    <a:cubicBezTo>
                      <a:pt x="0" y="186"/>
                      <a:pt x="0" y="185"/>
                      <a:pt x="0" y="183"/>
                    </a:cubicBezTo>
                    <a:cubicBezTo>
                      <a:pt x="6" y="178"/>
                      <a:pt x="6" y="168"/>
                      <a:pt x="12" y="166"/>
                    </a:cubicBezTo>
                    <a:cubicBezTo>
                      <a:pt x="37" y="176"/>
                      <a:pt x="73" y="176"/>
                      <a:pt x="103" y="169"/>
                    </a:cubicBezTo>
                    <a:cubicBezTo>
                      <a:pt x="116" y="117"/>
                      <a:pt x="127" y="60"/>
                      <a:pt x="143" y="9"/>
                    </a:cubicBezTo>
                    <a:cubicBezTo>
                      <a:pt x="158" y="0"/>
                      <a:pt x="177" y="2"/>
                      <a:pt x="191" y="11"/>
                    </a:cubicBezTo>
                    <a:cubicBezTo>
                      <a:pt x="204" y="36"/>
                      <a:pt x="210" y="83"/>
                      <a:pt x="225" y="112"/>
                    </a:cubicBezTo>
                    <a:cubicBezTo>
                      <a:pt x="229" y="119"/>
                      <a:pt x="237" y="125"/>
                      <a:pt x="245" y="133"/>
                    </a:cubicBezTo>
                    <a:cubicBezTo>
                      <a:pt x="252" y="140"/>
                      <a:pt x="260" y="152"/>
                      <a:pt x="268" y="153"/>
                    </a:cubicBezTo>
                    <a:cubicBezTo>
                      <a:pt x="277" y="155"/>
                      <a:pt x="286" y="149"/>
                      <a:pt x="296" y="153"/>
                    </a:cubicBezTo>
                    <a:cubicBezTo>
                      <a:pt x="291" y="195"/>
                      <a:pt x="275" y="228"/>
                      <a:pt x="275" y="276"/>
                    </a:cubicBezTo>
                    <a:cubicBezTo>
                      <a:pt x="273" y="281"/>
                      <a:pt x="269" y="281"/>
                      <a:pt x="268" y="288"/>
                    </a:cubicBezTo>
                    <a:cubicBezTo>
                      <a:pt x="265" y="291"/>
                      <a:pt x="265" y="298"/>
                      <a:pt x="264" y="303"/>
                    </a:cubicBezTo>
                    <a:cubicBezTo>
                      <a:pt x="261" y="312"/>
                      <a:pt x="253" y="318"/>
                      <a:pt x="253" y="328"/>
                    </a:cubicBezTo>
                    <a:cubicBezTo>
                      <a:pt x="252" y="336"/>
                      <a:pt x="256" y="345"/>
                      <a:pt x="256" y="354"/>
                    </a:cubicBezTo>
                    <a:cubicBezTo>
                      <a:pt x="258" y="380"/>
                      <a:pt x="258" y="399"/>
                      <a:pt x="252" y="418"/>
                    </a:cubicBezTo>
                    <a:cubicBezTo>
                      <a:pt x="266" y="448"/>
                      <a:pt x="257" y="479"/>
                      <a:pt x="249" y="514"/>
                    </a:cubicBezTo>
                    <a:cubicBezTo>
                      <a:pt x="245" y="536"/>
                      <a:pt x="243" y="559"/>
                      <a:pt x="237" y="577"/>
                    </a:cubicBezTo>
                    <a:cubicBezTo>
                      <a:pt x="233" y="586"/>
                      <a:pt x="227" y="595"/>
                      <a:pt x="223" y="604"/>
                    </a:cubicBezTo>
                    <a:cubicBezTo>
                      <a:pt x="220" y="611"/>
                      <a:pt x="218" y="623"/>
                      <a:pt x="215" y="633"/>
                    </a:cubicBezTo>
                    <a:cubicBezTo>
                      <a:pt x="212" y="644"/>
                      <a:pt x="207" y="656"/>
                      <a:pt x="207" y="662"/>
                    </a:cubicBezTo>
                    <a:cubicBezTo>
                      <a:pt x="208" y="675"/>
                      <a:pt x="224" y="690"/>
                      <a:pt x="222" y="707"/>
                    </a:cubicBezTo>
                    <a:cubicBezTo>
                      <a:pt x="203" y="705"/>
                      <a:pt x="197" y="690"/>
                      <a:pt x="182" y="689"/>
                    </a:cubicBezTo>
                    <a:cubicBezTo>
                      <a:pt x="141" y="688"/>
                      <a:pt x="137" y="726"/>
                      <a:pt x="122" y="748"/>
                    </a:cubicBezTo>
                    <a:cubicBezTo>
                      <a:pt x="120" y="724"/>
                      <a:pt x="115" y="702"/>
                      <a:pt x="114" y="677"/>
                    </a:cubicBezTo>
                    <a:cubicBezTo>
                      <a:pt x="108" y="676"/>
                      <a:pt x="99" y="684"/>
                      <a:pt x="97" y="672"/>
                    </a:cubicBezTo>
                    <a:cubicBezTo>
                      <a:pt x="64" y="661"/>
                      <a:pt x="98" y="627"/>
                      <a:pt x="97" y="609"/>
                    </a:cubicBezTo>
                    <a:cubicBezTo>
                      <a:pt x="97" y="602"/>
                      <a:pt x="90" y="595"/>
                      <a:pt x="86" y="588"/>
                    </a:cubicBezTo>
                    <a:cubicBezTo>
                      <a:pt x="74" y="569"/>
                      <a:pt x="70" y="549"/>
                      <a:pt x="64" y="525"/>
                    </a:cubicBezTo>
                    <a:cubicBezTo>
                      <a:pt x="52" y="479"/>
                      <a:pt x="45" y="432"/>
                      <a:pt x="35" y="383"/>
                    </a:cubicBezTo>
                    <a:cubicBezTo>
                      <a:pt x="28" y="351"/>
                      <a:pt x="22" y="318"/>
                      <a:pt x="19" y="285"/>
                    </a:cubicBezTo>
                    <a:cubicBezTo>
                      <a:pt x="18" y="251"/>
                      <a:pt x="7" y="214"/>
                      <a:pt x="0" y="188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43" name="Freeform 179">
                <a:extLst>
                  <a:ext uri="{FF2B5EF4-FFF2-40B4-BE49-F238E27FC236}">
                    <a16:creationId xmlns:a16="http://schemas.microsoft.com/office/drawing/2014/main" id="{9653485A-C9A8-4F8C-86C2-EC0D1BDC3D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4413" y="3113098"/>
                <a:ext cx="452441" cy="569916"/>
              </a:xfrm>
              <a:custGeom>
                <a:avLst/>
                <a:gdLst>
                  <a:gd name="T0" fmla="*/ 0 w 285"/>
                  <a:gd name="T1" fmla="*/ 0 h 359"/>
                  <a:gd name="T2" fmla="*/ 14 w 285"/>
                  <a:gd name="T3" fmla="*/ 96 h 359"/>
                  <a:gd name="T4" fmla="*/ 108 w 285"/>
                  <a:gd name="T5" fmla="*/ 330 h 359"/>
                  <a:gd name="T6" fmla="*/ 285 w 285"/>
                  <a:gd name="T7" fmla="*/ 359 h 359"/>
                  <a:gd name="T8" fmla="*/ 285 w 285"/>
                  <a:gd name="T9" fmla="*/ 311 h 359"/>
                  <a:gd name="T10" fmla="*/ 0 w 285"/>
                  <a:gd name="T11" fmla="*/ 0 h 3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5" h="359">
                    <a:moveTo>
                      <a:pt x="0" y="0"/>
                    </a:moveTo>
                    <a:lnTo>
                      <a:pt x="14" y="96"/>
                    </a:lnTo>
                    <a:lnTo>
                      <a:pt x="108" y="330"/>
                    </a:lnTo>
                    <a:lnTo>
                      <a:pt x="285" y="359"/>
                    </a:lnTo>
                    <a:lnTo>
                      <a:pt x="285" y="31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44" name="Freeform 180">
                <a:extLst>
                  <a:ext uri="{FF2B5EF4-FFF2-40B4-BE49-F238E27FC236}">
                    <a16:creationId xmlns:a16="http://schemas.microsoft.com/office/drawing/2014/main" id="{912432F8-7314-4BE2-80AA-CC3DCABE78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146435"/>
                <a:ext cx="592139" cy="619126"/>
              </a:xfrm>
              <a:custGeom>
                <a:avLst/>
                <a:gdLst>
                  <a:gd name="T0" fmla="*/ 158 w 158"/>
                  <a:gd name="T1" fmla="*/ 0 h 165"/>
                  <a:gd name="T2" fmla="*/ 158 w 158"/>
                  <a:gd name="T3" fmla="*/ 80 h 165"/>
                  <a:gd name="T4" fmla="*/ 113 w 158"/>
                  <a:gd name="T5" fmla="*/ 158 h 165"/>
                  <a:gd name="T6" fmla="*/ 23 w 158"/>
                  <a:gd name="T7" fmla="*/ 156 h 165"/>
                  <a:gd name="T8" fmla="*/ 0 w 158"/>
                  <a:gd name="T9" fmla="*/ 148 h 165"/>
                  <a:gd name="T10" fmla="*/ 87 w 158"/>
                  <a:gd name="T11" fmla="*/ 137 h 165"/>
                  <a:gd name="T12" fmla="*/ 158 w 158"/>
                  <a:gd name="T13" fmla="*/ 0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8" h="165">
                    <a:moveTo>
                      <a:pt x="158" y="0"/>
                    </a:moveTo>
                    <a:cubicBezTo>
                      <a:pt x="158" y="80"/>
                      <a:pt x="158" y="80"/>
                      <a:pt x="158" y="80"/>
                    </a:cubicBezTo>
                    <a:cubicBezTo>
                      <a:pt x="158" y="80"/>
                      <a:pt x="139" y="165"/>
                      <a:pt x="113" y="158"/>
                    </a:cubicBezTo>
                    <a:cubicBezTo>
                      <a:pt x="87" y="152"/>
                      <a:pt x="26" y="157"/>
                      <a:pt x="23" y="156"/>
                    </a:cubicBezTo>
                    <a:cubicBezTo>
                      <a:pt x="20" y="156"/>
                      <a:pt x="0" y="148"/>
                      <a:pt x="0" y="148"/>
                    </a:cubicBezTo>
                    <a:cubicBezTo>
                      <a:pt x="0" y="148"/>
                      <a:pt x="82" y="138"/>
                      <a:pt x="87" y="137"/>
                    </a:cubicBezTo>
                    <a:cubicBezTo>
                      <a:pt x="92" y="136"/>
                      <a:pt x="158" y="0"/>
                      <a:pt x="1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45" name="Freeform 181">
                <a:extLst>
                  <a:ext uri="{FF2B5EF4-FFF2-40B4-BE49-F238E27FC236}">
                    <a16:creationId xmlns:a16="http://schemas.microsoft.com/office/drawing/2014/main" id="{05E5587E-F4E6-486A-AAC6-8D0D4ABFD9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9813" y="3446473"/>
                <a:ext cx="63501" cy="423863"/>
              </a:xfrm>
              <a:custGeom>
                <a:avLst/>
                <a:gdLst>
                  <a:gd name="T0" fmla="*/ 0 w 40"/>
                  <a:gd name="T1" fmla="*/ 0 h 267"/>
                  <a:gd name="T2" fmla="*/ 0 w 40"/>
                  <a:gd name="T3" fmla="*/ 267 h 267"/>
                  <a:gd name="T4" fmla="*/ 40 w 40"/>
                  <a:gd name="T5" fmla="*/ 260 h 267"/>
                  <a:gd name="T6" fmla="*/ 0 w 40"/>
                  <a:gd name="T7" fmla="*/ 0 h 2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0" h="267">
                    <a:moveTo>
                      <a:pt x="0" y="0"/>
                    </a:moveTo>
                    <a:lnTo>
                      <a:pt x="0" y="267"/>
                    </a:lnTo>
                    <a:lnTo>
                      <a:pt x="40" y="26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46" name="Freeform 182">
                <a:extLst>
                  <a:ext uri="{FF2B5EF4-FFF2-40B4-BE49-F238E27FC236}">
                    <a16:creationId xmlns:a16="http://schemas.microsoft.com/office/drawing/2014/main" id="{17E71801-D12F-4781-AA07-FA9DF2E1BD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48036" y="3884623"/>
                <a:ext cx="217490" cy="1497016"/>
              </a:xfrm>
              <a:custGeom>
                <a:avLst/>
                <a:gdLst>
                  <a:gd name="T0" fmla="*/ 58 w 58"/>
                  <a:gd name="T1" fmla="*/ 0 h 399"/>
                  <a:gd name="T2" fmla="*/ 6 w 58"/>
                  <a:gd name="T3" fmla="*/ 369 h 399"/>
                  <a:gd name="T4" fmla="*/ 0 w 58"/>
                  <a:gd name="T5" fmla="*/ 399 h 399"/>
                  <a:gd name="T6" fmla="*/ 34 w 58"/>
                  <a:gd name="T7" fmla="*/ 312 h 399"/>
                  <a:gd name="T8" fmla="*/ 29 w 58"/>
                  <a:gd name="T9" fmla="*/ 255 h 399"/>
                  <a:gd name="T10" fmla="*/ 48 w 58"/>
                  <a:gd name="T11" fmla="*/ 139 h 399"/>
                  <a:gd name="T12" fmla="*/ 58 w 58"/>
                  <a:gd name="T13" fmla="*/ 0 h 3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8" h="399">
                    <a:moveTo>
                      <a:pt x="58" y="0"/>
                    </a:moveTo>
                    <a:cubicBezTo>
                      <a:pt x="6" y="369"/>
                      <a:pt x="6" y="369"/>
                      <a:pt x="6" y="369"/>
                    </a:cubicBezTo>
                    <a:cubicBezTo>
                      <a:pt x="0" y="399"/>
                      <a:pt x="0" y="399"/>
                      <a:pt x="0" y="399"/>
                    </a:cubicBezTo>
                    <a:cubicBezTo>
                      <a:pt x="0" y="399"/>
                      <a:pt x="36" y="342"/>
                      <a:pt x="34" y="312"/>
                    </a:cubicBezTo>
                    <a:cubicBezTo>
                      <a:pt x="32" y="282"/>
                      <a:pt x="28" y="282"/>
                      <a:pt x="29" y="255"/>
                    </a:cubicBezTo>
                    <a:cubicBezTo>
                      <a:pt x="31" y="227"/>
                      <a:pt x="46" y="145"/>
                      <a:pt x="48" y="139"/>
                    </a:cubicBezTo>
                    <a:cubicBezTo>
                      <a:pt x="50" y="132"/>
                      <a:pt x="58" y="0"/>
                      <a:pt x="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47" name="Freeform 183">
                <a:extLst>
                  <a:ext uri="{FF2B5EF4-FFF2-40B4-BE49-F238E27FC236}">
                    <a16:creationId xmlns:a16="http://schemas.microsoft.com/office/drawing/2014/main" id="{B70076BD-044A-4BED-8F6E-5EFBC1B7AB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3802" y="4038612"/>
                <a:ext cx="231777" cy="385763"/>
              </a:xfrm>
              <a:custGeom>
                <a:avLst/>
                <a:gdLst>
                  <a:gd name="T0" fmla="*/ 62 w 62"/>
                  <a:gd name="T1" fmla="*/ 0 h 103"/>
                  <a:gd name="T2" fmla="*/ 35 w 62"/>
                  <a:gd name="T3" fmla="*/ 31 h 103"/>
                  <a:gd name="T4" fmla="*/ 27 w 62"/>
                  <a:gd name="T5" fmla="*/ 66 h 103"/>
                  <a:gd name="T6" fmla="*/ 6 w 62"/>
                  <a:gd name="T7" fmla="*/ 79 h 103"/>
                  <a:gd name="T8" fmla="*/ 23 w 62"/>
                  <a:gd name="T9" fmla="*/ 30 h 103"/>
                  <a:gd name="T10" fmla="*/ 62 w 62"/>
                  <a:gd name="T11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2" h="103">
                    <a:moveTo>
                      <a:pt x="62" y="0"/>
                    </a:moveTo>
                    <a:cubicBezTo>
                      <a:pt x="62" y="0"/>
                      <a:pt x="37" y="20"/>
                      <a:pt x="35" y="31"/>
                    </a:cubicBezTo>
                    <a:cubicBezTo>
                      <a:pt x="33" y="42"/>
                      <a:pt x="25" y="75"/>
                      <a:pt x="27" y="66"/>
                    </a:cubicBezTo>
                    <a:cubicBezTo>
                      <a:pt x="28" y="58"/>
                      <a:pt x="0" y="103"/>
                      <a:pt x="6" y="79"/>
                    </a:cubicBezTo>
                    <a:cubicBezTo>
                      <a:pt x="12" y="55"/>
                      <a:pt x="14" y="48"/>
                      <a:pt x="23" y="30"/>
                    </a:cubicBezTo>
                    <a:cubicBezTo>
                      <a:pt x="33" y="12"/>
                      <a:pt x="62" y="0"/>
                      <a:pt x="62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48" name="Freeform 184">
                <a:extLst>
                  <a:ext uri="{FF2B5EF4-FFF2-40B4-BE49-F238E27FC236}">
                    <a16:creationId xmlns:a16="http://schemas.microsoft.com/office/drawing/2014/main" id="{3C24C870-3585-410D-A10B-C9CECB62B4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5862" y="4581537"/>
                <a:ext cx="153989" cy="434977"/>
              </a:xfrm>
              <a:custGeom>
                <a:avLst/>
                <a:gdLst>
                  <a:gd name="T0" fmla="*/ 41 w 41"/>
                  <a:gd name="T1" fmla="*/ 0 h 116"/>
                  <a:gd name="T2" fmla="*/ 25 w 41"/>
                  <a:gd name="T3" fmla="*/ 47 h 116"/>
                  <a:gd name="T4" fmla="*/ 7 w 41"/>
                  <a:gd name="T5" fmla="*/ 85 h 116"/>
                  <a:gd name="T6" fmla="*/ 36 w 41"/>
                  <a:gd name="T7" fmla="*/ 0 h 116"/>
                  <a:gd name="T8" fmla="*/ 41 w 41"/>
                  <a:gd name="T9" fmla="*/ 0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116">
                    <a:moveTo>
                      <a:pt x="41" y="0"/>
                    </a:moveTo>
                    <a:cubicBezTo>
                      <a:pt x="38" y="8"/>
                      <a:pt x="33" y="18"/>
                      <a:pt x="25" y="47"/>
                    </a:cubicBezTo>
                    <a:cubicBezTo>
                      <a:pt x="17" y="75"/>
                      <a:pt x="0" y="116"/>
                      <a:pt x="7" y="85"/>
                    </a:cubicBezTo>
                    <a:cubicBezTo>
                      <a:pt x="15" y="53"/>
                      <a:pt x="31" y="0"/>
                      <a:pt x="36" y="0"/>
                    </a:cubicBezTo>
                    <a:cubicBezTo>
                      <a:pt x="41" y="0"/>
                      <a:pt x="41" y="0"/>
                      <a:pt x="41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49" name="Freeform 185">
                <a:extLst>
                  <a:ext uri="{FF2B5EF4-FFF2-40B4-BE49-F238E27FC236}">
                    <a16:creationId xmlns:a16="http://schemas.microsoft.com/office/drawing/2014/main" id="{98192BD7-BBC1-4CDA-A21F-664070E697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5988" y="5470541"/>
                <a:ext cx="274638" cy="165099"/>
              </a:xfrm>
              <a:custGeom>
                <a:avLst/>
                <a:gdLst>
                  <a:gd name="T0" fmla="*/ 0 w 73"/>
                  <a:gd name="T1" fmla="*/ 41 h 44"/>
                  <a:gd name="T2" fmla="*/ 37 w 73"/>
                  <a:gd name="T3" fmla="*/ 29 h 44"/>
                  <a:gd name="T4" fmla="*/ 68 w 73"/>
                  <a:gd name="T5" fmla="*/ 29 h 44"/>
                  <a:gd name="T6" fmla="*/ 50 w 73"/>
                  <a:gd name="T7" fmla="*/ 0 h 44"/>
                  <a:gd name="T8" fmla="*/ 0 w 73"/>
                  <a:gd name="T9" fmla="*/ 41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3" h="44">
                    <a:moveTo>
                      <a:pt x="0" y="41"/>
                    </a:moveTo>
                    <a:cubicBezTo>
                      <a:pt x="0" y="41"/>
                      <a:pt x="8" y="27"/>
                      <a:pt x="37" y="29"/>
                    </a:cubicBezTo>
                    <a:cubicBezTo>
                      <a:pt x="65" y="31"/>
                      <a:pt x="66" y="44"/>
                      <a:pt x="68" y="29"/>
                    </a:cubicBezTo>
                    <a:cubicBezTo>
                      <a:pt x="70" y="14"/>
                      <a:pt x="73" y="0"/>
                      <a:pt x="50" y="0"/>
                    </a:cubicBezTo>
                    <a:cubicBezTo>
                      <a:pt x="27" y="0"/>
                      <a:pt x="0" y="41"/>
                      <a:pt x="0" y="4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50" name="Freeform 186">
                <a:extLst>
                  <a:ext uri="{FF2B5EF4-FFF2-40B4-BE49-F238E27FC236}">
                    <a16:creationId xmlns:a16="http://schemas.microsoft.com/office/drawing/2014/main" id="{59C55637-7165-4F4F-9473-132D1305CE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5111766"/>
                <a:ext cx="139699" cy="265114"/>
              </a:xfrm>
              <a:custGeom>
                <a:avLst/>
                <a:gdLst>
                  <a:gd name="T0" fmla="*/ 16 w 37"/>
                  <a:gd name="T1" fmla="*/ 2 h 71"/>
                  <a:gd name="T2" fmla="*/ 31 w 37"/>
                  <a:gd name="T3" fmla="*/ 31 h 71"/>
                  <a:gd name="T4" fmla="*/ 24 w 37"/>
                  <a:gd name="T5" fmla="*/ 42 h 71"/>
                  <a:gd name="T6" fmla="*/ 3 w 37"/>
                  <a:gd name="T7" fmla="*/ 7 h 71"/>
                  <a:gd name="T8" fmla="*/ 16 w 37"/>
                  <a:gd name="T9" fmla="*/ 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71">
                    <a:moveTo>
                      <a:pt x="16" y="2"/>
                    </a:moveTo>
                    <a:cubicBezTo>
                      <a:pt x="24" y="6"/>
                      <a:pt x="32" y="19"/>
                      <a:pt x="31" y="31"/>
                    </a:cubicBezTo>
                    <a:cubicBezTo>
                      <a:pt x="30" y="43"/>
                      <a:pt x="37" y="71"/>
                      <a:pt x="24" y="42"/>
                    </a:cubicBezTo>
                    <a:cubicBezTo>
                      <a:pt x="11" y="14"/>
                      <a:pt x="0" y="14"/>
                      <a:pt x="3" y="7"/>
                    </a:cubicBezTo>
                    <a:cubicBezTo>
                      <a:pt x="6" y="0"/>
                      <a:pt x="16" y="2"/>
                      <a:pt x="16" y="2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51" name="Freeform 187">
                <a:extLst>
                  <a:ext uri="{FF2B5EF4-FFF2-40B4-BE49-F238E27FC236}">
                    <a16:creationId xmlns:a16="http://schemas.microsoft.com/office/drawing/2014/main" id="{7F8EE44F-BE7C-4227-9545-0B869A9A8A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4" y="4159261"/>
                <a:ext cx="322265" cy="741365"/>
              </a:xfrm>
              <a:custGeom>
                <a:avLst/>
                <a:gdLst>
                  <a:gd name="T0" fmla="*/ 0 w 86"/>
                  <a:gd name="T1" fmla="*/ 0 h 198"/>
                  <a:gd name="T2" fmla="*/ 38 w 86"/>
                  <a:gd name="T3" fmla="*/ 16 h 198"/>
                  <a:gd name="T4" fmla="*/ 51 w 86"/>
                  <a:gd name="T5" fmla="*/ 54 h 198"/>
                  <a:gd name="T6" fmla="*/ 36 w 86"/>
                  <a:gd name="T7" fmla="*/ 54 h 198"/>
                  <a:gd name="T8" fmla="*/ 70 w 86"/>
                  <a:gd name="T9" fmla="*/ 161 h 198"/>
                  <a:gd name="T10" fmla="*/ 37 w 86"/>
                  <a:gd name="T11" fmla="*/ 132 h 198"/>
                  <a:gd name="T12" fmla="*/ 36 w 86"/>
                  <a:gd name="T13" fmla="*/ 198 h 198"/>
                  <a:gd name="T14" fmla="*/ 16 w 86"/>
                  <a:gd name="T15" fmla="*/ 96 h 198"/>
                  <a:gd name="T16" fmla="*/ 0 w 86"/>
                  <a:gd name="T17" fmla="*/ 28 h 198"/>
                  <a:gd name="T18" fmla="*/ 0 w 86"/>
                  <a:gd name="T19" fmla="*/ 0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6" h="198">
                    <a:moveTo>
                      <a:pt x="0" y="0"/>
                    </a:moveTo>
                    <a:cubicBezTo>
                      <a:pt x="0" y="0"/>
                      <a:pt x="32" y="2"/>
                      <a:pt x="38" y="16"/>
                    </a:cubicBezTo>
                    <a:cubicBezTo>
                      <a:pt x="44" y="31"/>
                      <a:pt x="66" y="67"/>
                      <a:pt x="51" y="54"/>
                    </a:cubicBezTo>
                    <a:cubicBezTo>
                      <a:pt x="36" y="41"/>
                      <a:pt x="17" y="24"/>
                      <a:pt x="36" y="54"/>
                    </a:cubicBezTo>
                    <a:cubicBezTo>
                      <a:pt x="54" y="84"/>
                      <a:pt x="86" y="181"/>
                      <a:pt x="70" y="161"/>
                    </a:cubicBezTo>
                    <a:cubicBezTo>
                      <a:pt x="55" y="141"/>
                      <a:pt x="39" y="108"/>
                      <a:pt x="37" y="132"/>
                    </a:cubicBezTo>
                    <a:cubicBezTo>
                      <a:pt x="36" y="156"/>
                      <a:pt x="36" y="198"/>
                      <a:pt x="36" y="198"/>
                    </a:cubicBezTo>
                    <a:cubicBezTo>
                      <a:pt x="16" y="96"/>
                      <a:pt x="16" y="96"/>
                      <a:pt x="16" y="96"/>
                    </a:cubicBezTo>
                    <a:cubicBezTo>
                      <a:pt x="0" y="28"/>
                      <a:pt x="0" y="28"/>
                      <a:pt x="0" y="28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52" name="Freeform 157">
                <a:extLst>
                  <a:ext uri="{FF2B5EF4-FFF2-40B4-BE49-F238E27FC236}">
                    <a16:creationId xmlns:a16="http://schemas.microsoft.com/office/drawing/2014/main" id="{AA8EE182-24DA-4308-8B66-D6DE7FFC45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5160" y="960441"/>
                <a:ext cx="584203" cy="1049339"/>
              </a:xfrm>
              <a:custGeom>
                <a:avLst/>
                <a:gdLst>
                  <a:gd name="T0" fmla="*/ 0 w 156"/>
                  <a:gd name="T1" fmla="*/ 112 h 280"/>
                  <a:gd name="T2" fmla="*/ 0 w 156"/>
                  <a:gd name="T3" fmla="*/ 104 h 280"/>
                  <a:gd name="T4" fmla="*/ 11 w 156"/>
                  <a:gd name="T5" fmla="*/ 96 h 280"/>
                  <a:gd name="T6" fmla="*/ 4 w 156"/>
                  <a:gd name="T7" fmla="*/ 46 h 280"/>
                  <a:gd name="T8" fmla="*/ 28 w 156"/>
                  <a:gd name="T9" fmla="*/ 22 h 280"/>
                  <a:gd name="T10" fmla="*/ 59 w 156"/>
                  <a:gd name="T11" fmla="*/ 4 h 280"/>
                  <a:gd name="T12" fmla="*/ 108 w 156"/>
                  <a:gd name="T13" fmla="*/ 6 h 280"/>
                  <a:gd name="T14" fmla="*/ 138 w 156"/>
                  <a:gd name="T15" fmla="*/ 93 h 280"/>
                  <a:gd name="T16" fmla="*/ 143 w 156"/>
                  <a:gd name="T17" fmla="*/ 99 h 280"/>
                  <a:gd name="T18" fmla="*/ 131 w 156"/>
                  <a:gd name="T19" fmla="*/ 140 h 280"/>
                  <a:gd name="T20" fmla="*/ 122 w 156"/>
                  <a:gd name="T21" fmla="*/ 147 h 280"/>
                  <a:gd name="T22" fmla="*/ 114 w 156"/>
                  <a:gd name="T23" fmla="*/ 215 h 280"/>
                  <a:gd name="T24" fmla="*/ 80 w 156"/>
                  <a:gd name="T25" fmla="*/ 280 h 280"/>
                  <a:gd name="T26" fmla="*/ 56 w 156"/>
                  <a:gd name="T27" fmla="*/ 267 h 280"/>
                  <a:gd name="T28" fmla="*/ 44 w 156"/>
                  <a:gd name="T29" fmla="*/ 241 h 280"/>
                  <a:gd name="T30" fmla="*/ 24 w 156"/>
                  <a:gd name="T31" fmla="*/ 188 h 280"/>
                  <a:gd name="T32" fmla="*/ 24 w 156"/>
                  <a:gd name="T33" fmla="*/ 150 h 280"/>
                  <a:gd name="T34" fmla="*/ 12 w 156"/>
                  <a:gd name="T35" fmla="*/ 137 h 280"/>
                  <a:gd name="T36" fmla="*/ 0 w 156"/>
                  <a:gd name="T37" fmla="*/ 112 h 2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56" h="280">
                    <a:moveTo>
                      <a:pt x="0" y="112"/>
                    </a:moveTo>
                    <a:cubicBezTo>
                      <a:pt x="0" y="109"/>
                      <a:pt x="0" y="107"/>
                      <a:pt x="0" y="104"/>
                    </a:cubicBezTo>
                    <a:cubicBezTo>
                      <a:pt x="3" y="101"/>
                      <a:pt x="3" y="94"/>
                      <a:pt x="11" y="96"/>
                    </a:cubicBezTo>
                    <a:cubicBezTo>
                      <a:pt x="6" y="80"/>
                      <a:pt x="6" y="64"/>
                      <a:pt x="4" y="46"/>
                    </a:cubicBezTo>
                    <a:cubicBezTo>
                      <a:pt x="8" y="36"/>
                      <a:pt x="19" y="30"/>
                      <a:pt x="28" y="22"/>
                    </a:cubicBezTo>
                    <a:cubicBezTo>
                      <a:pt x="38" y="16"/>
                      <a:pt x="47" y="7"/>
                      <a:pt x="59" y="4"/>
                    </a:cubicBezTo>
                    <a:cubicBezTo>
                      <a:pt x="72" y="0"/>
                      <a:pt x="89" y="6"/>
                      <a:pt x="108" y="6"/>
                    </a:cubicBezTo>
                    <a:cubicBezTo>
                      <a:pt x="134" y="19"/>
                      <a:pt x="156" y="55"/>
                      <a:pt x="138" y="93"/>
                    </a:cubicBezTo>
                    <a:cubicBezTo>
                      <a:pt x="137" y="97"/>
                      <a:pt x="145" y="96"/>
                      <a:pt x="143" y="99"/>
                    </a:cubicBezTo>
                    <a:cubicBezTo>
                      <a:pt x="149" y="115"/>
                      <a:pt x="135" y="128"/>
                      <a:pt x="131" y="140"/>
                    </a:cubicBezTo>
                    <a:cubicBezTo>
                      <a:pt x="130" y="142"/>
                      <a:pt x="126" y="146"/>
                      <a:pt x="122" y="147"/>
                    </a:cubicBezTo>
                    <a:cubicBezTo>
                      <a:pt x="122" y="170"/>
                      <a:pt x="121" y="196"/>
                      <a:pt x="114" y="215"/>
                    </a:cubicBezTo>
                    <a:cubicBezTo>
                      <a:pt x="108" y="240"/>
                      <a:pt x="102" y="273"/>
                      <a:pt x="80" y="280"/>
                    </a:cubicBezTo>
                    <a:cubicBezTo>
                      <a:pt x="72" y="274"/>
                      <a:pt x="61" y="274"/>
                      <a:pt x="56" y="267"/>
                    </a:cubicBezTo>
                    <a:cubicBezTo>
                      <a:pt x="51" y="260"/>
                      <a:pt x="48" y="249"/>
                      <a:pt x="44" y="241"/>
                    </a:cubicBezTo>
                    <a:cubicBezTo>
                      <a:pt x="38" y="226"/>
                      <a:pt x="27" y="204"/>
                      <a:pt x="24" y="188"/>
                    </a:cubicBezTo>
                    <a:cubicBezTo>
                      <a:pt x="22" y="175"/>
                      <a:pt x="27" y="161"/>
                      <a:pt x="24" y="150"/>
                    </a:cubicBezTo>
                    <a:cubicBezTo>
                      <a:pt x="22" y="140"/>
                      <a:pt x="18" y="144"/>
                      <a:pt x="12" y="137"/>
                    </a:cubicBezTo>
                    <a:cubicBezTo>
                      <a:pt x="7" y="130"/>
                      <a:pt x="4" y="118"/>
                      <a:pt x="0" y="112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53" name="Freeform 158">
                <a:extLst>
                  <a:ext uri="{FF2B5EF4-FFF2-40B4-BE49-F238E27FC236}">
                    <a16:creationId xmlns:a16="http://schemas.microsoft.com/office/drawing/2014/main" id="{3469E493-4180-44B3-BCD1-A39FCC9E26E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49535" y="3479810"/>
                <a:ext cx="255587" cy="434977"/>
              </a:xfrm>
              <a:custGeom>
                <a:avLst/>
                <a:gdLst>
                  <a:gd name="T0" fmla="*/ 63 w 68"/>
                  <a:gd name="T1" fmla="*/ 116 h 116"/>
                  <a:gd name="T2" fmla="*/ 60 w 68"/>
                  <a:gd name="T3" fmla="*/ 116 h 116"/>
                  <a:gd name="T4" fmla="*/ 16 w 68"/>
                  <a:gd name="T5" fmla="*/ 98 h 116"/>
                  <a:gd name="T6" fmla="*/ 0 w 68"/>
                  <a:gd name="T7" fmla="*/ 23 h 116"/>
                  <a:gd name="T8" fmla="*/ 55 w 68"/>
                  <a:gd name="T9" fmla="*/ 16 h 116"/>
                  <a:gd name="T10" fmla="*/ 68 w 68"/>
                  <a:gd name="T11" fmla="*/ 91 h 116"/>
                  <a:gd name="T12" fmla="*/ 62 w 68"/>
                  <a:gd name="T13" fmla="*/ 103 h 116"/>
                  <a:gd name="T14" fmla="*/ 63 w 68"/>
                  <a:gd name="T15" fmla="*/ 116 h 116"/>
                  <a:gd name="T16" fmla="*/ 38 w 68"/>
                  <a:gd name="T17" fmla="*/ 65 h 116"/>
                  <a:gd name="T18" fmla="*/ 54 w 68"/>
                  <a:gd name="T19" fmla="*/ 91 h 116"/>
                  <a:gd name="T20" fmla="*/ 44 w 68"/>
                  <a:gd name="T21" fmla="*/ 60 h 116"/>
                  <a:gd name="T22" fmla="*/ 38 w 68"/>
                  <a:gd name="T23" fmla="*/ 65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8" h="116">
                    <a:moveTo>
                      <a:pt x="63" y="116"/>
                    </a:moveTo>
                    <a:cubicBezTo>
                      <a:pt x="62" y="116"/>
                      <a:pt x="60" y="116"/>
                      <a:pt x="60" y="116"/>
                    </a:cubicBezTo>
                    <a:cubicBezTo>
                      <a:pt x="46" y="108"/>
                      <a:pt x="26" y="108"/>
                      <a:pt x="16" y="98"/>
                    </a:cubicBezTo>
                    <a:cubicBezTo>
                      <a:pt x="0" y="81"/>
                      <a:pt x="0" y="56"/>
                      <a:pt x="0" y="23"/>
                    </a:cubicBezTo>
                    <a:cubicBezTo>
                      <a:pt x="12" y="8"/>
                      <a:pt x="40" y="0"/>
                      <a:pt x="55" y="16"/>
                    </a:cubicBezTo>
                    <a:cubicBezTo>
                      <a:pt x="60" y="40"/>
                      <a:pt x="62" y="69"/>
                      <a:pt x="68" y="91"/>
                    </a:cubicBezTo>
                    <a:cubicBezTo>
                      <a:pt x="68" y="98"/>
                      <a:pt x="59" y="95"/>
                      <a:pt x="62" y="103"/>
                    </a:cubicBezTo>
                    <a:cubicBezTo>
                      <a:pt x="66" y="106"/>
                      <a:pt x="67" y="110"/>
                      <a:pt x="63" y="116"/>
                    </a:cubicBezTo>
                    <a:close/>
                    <a:moveTo>
                      <a:pt x="38" y="65"/>
                    </a:moveTo>
                    <a:cubicBezTo>
                      <a:pt x="40" y="75"/>
                      <a:pt x="38" y="93"/>
                      <a:pt x="54" y="91"/>
                    </a:cubicBezTo>
                    <a:cubicBezTo>
                      <a:pt x="47" y="85"/>
                      <a:pt x="50" y="69"/>
                      <a:pt x="44" y="60"/>
                    </a:cubicBezTo>
                    <a:cubicBezTo>
                      <a:pt x="43" y="64"/>
                      <a:pt x="38" y="61"/>
                      <a:pt x="38" y="6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54" name="Freeform 161">
                <a:extLst>
                  <a:ext uri="{FF2B5EF4-FFF2-40B4-BE49-F238E27FC236}">
                    <a16:creationId xmlns:a16="http://schemas.microsoft.com/office/drawing/2014/main" id="{4AB0A470-C7F7-4D91-AD86-685E24A87D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1695456"/>
                <a:ext cx="525465" cy="1109667"/>
              </a:xfrm>
              <a:custGeom>
                <a:avLst/>
                <a:gdLst>
                  <a:gd name="T0" fmla="*/ 139 w 140"/>
                  <a:gd name="T1" fmla="*/ 64 h 296"/>
                  <a:gd name="T2" fmla="*/ 139 w 140"/>
                  <a:gd name="T3" fmla="*/ 71 h 296"/>
                  <a:gd name="T4" fmla="*/ 138 w 140"/>
                  <a:gd name="T5" fmla="*/ 71 h 296"/>
                  <a:gd name="T6" fmla="*/ 93 w 140"/>
                  <a:gd name="T7" fmla="*/ 296 h 296"/>
                  <a:gd name="T8" fmla="*/ 84 w 140"/>
                  <a:gd name="T9" fmla="*/ 296 h 296"/>
                  <a:gd name="T10" fmla="*/ 75 w 140"/>
                  <a:gd name="T11" fmla="*/ 294 h 296"/>
                  <a:gd name="T12" fmla="*/ 63 w 140"/>
                  <a:gd name="T13" fmla="*/ 261 h 296"/>
                  <a:gd name="T14" fmla="*/ 33 w 140"/>
                  <a:gd name="T15" fmla="*/ 170 h 296"/>
                  <a:gd name="T16" fmla="*/ 0 w 140"/>
                  <a:gd name="T17" fmla="*/ 34 h 296"/>
                  <a:gd name="T18" fmla="*/ 0 w 140"/>
                  <a:gd name="T19" fmla="*/ 27 h 296"/>
                  <a:gd name="T20" fmla="*/ 16 w 140"/>
                  <a:gd name="T21" fmla="*/ 0 h 296"/>
                  <a:gd name="T22" fmla="*/ 67 w 140"/>
                  <a:gd name="T23" fmla="*/ 34 h 296"/>
                  <a:gd name="T24" fmla="*/ 70 w 140"/>
                  <a:gd name="T25" fmla="*/ 68 h 296"/>
                  <a:gd name="T26" fmla="*/ 81 w 140"/>
                  <a:gd name="T27" fmla="*/ 61 h 296"/>
                  <a:gd name="T28" fmla="*/ 76 w 140"/>
                  <a:gd name="T29" fmla="*/ 43 h 296"/>
                  <a:gd name="T30" fmla="*/ 110 w 140"/>
                  <a:gd name="T31" fmla="*/ 11 h 296"/>
                  <a:gd name="T32" fmla="*/ 121 w 140"/>
                  <a:gd name="T33" fmla="*/ 3 h 296"/>
                  <a:gd name="T34" fmla="*/ 139 w 140"/>
                  <a:gd name="T35" fmla="*/ 64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0" h="296">
                    <a:moveTo>
                      <a:pt x="139" y="64"/>
                    </a:moveTo>
                    <a:cubicBezTo>
                      <a:pt x="139" y="67"/>
                      <a:pt x="139" y="68"/>
                      <a:pt x="139" y="71"/>
                    </a:cubicBezTo>
                    <a:cubicBezTo>
                      <a:pt x="138" y="71"/>
                      <a:pt x="138" y="71"/>
                      <a:pt x="138" y="71"/>
                    </a:cubicBezTo>
                    <a:cubicBezTo>
                      <a:pt x="125" y="148"/>
                      <a:pt x="108" y="221"/>
                      <a:pt x="93" y="296"/>
                    </a:cubicBezTo>
                    <a:cubicBezTo>
                      <a:pt x="90" y="296"/>
                      <a:pt x="87" y="296"/>
                      <a:pt x="84" y="296"/>
                    </a:cubicBezTo>
                    <a:cubicBezTo>
                      <a:pt x="85" y="294"/>
                      <a:pt x="78" y="296"/>
                      <a:pt x="75" y="294"/>
                    </a:cubicBezTo>
                    <a:cubicBezTo>
                      <a:pt x="72" y="291"/>
                      <a:pt x="67" y="273"/>
                      <a:pt x="63" y="261"/>
                    </a:cubicBezTo>
                    <a:cubicBezTo>
                      <a:pt x="53" y="231"/>
                      <a:pt x="42" y="201"/>
                      <a:pt x="33" y="170"/>
                    </a:cubicBezTo>
                    <a:cubicBezTo>
                      <a:pt x="18" y="118"/>
                      <a:pt x="8" y="74"/>
                      <a:pt x="0" y="34"/>
                    </a:cubicBezTo>
                    <a:cubicBezTo>
                      <a:pt x="0" y="32"/>
                      <a:pt x="0" y="29"/>
                      <a:pt x="0" y="27"/>
                    </a:cubicBezTo>
                    <a:cubicBezTo>
                      <a:pt x="3" y="16"/>
                      <a:pt x="3" y="0"/>
                      <a:pt x="16" y="0"/>
                    </a:cubicBezTo>
                    <a:cubicBezTo>
                      <a:pt x="31" y="13"/>
                      <a:pt x="49" y="23"/>
                      <a:pt x="67" y="34"/>
                    </a:cubicBezTo>
                    <a:cubicBezTo>
                      <a:pt x="74" y="43"/>
                      <a:pt x="71" y="56"/>
                      <a:pt x="70" y="68"/>
                    </a:cubicBezTo>
                    <a:cubicBezTo>
                      <a:pt x="75" y="68"/>
                      <a:pt x="80" y="64"/>
                      <a:pt x="81" y="61"/>
                    </a:cubicBezTo>
                    <a:cubicBezTo>
                      <a:pt x="80" y="62"/>
                      <a:pt x="72" y="49"/>
                      <a:pt x="76" y="43"/>
                    </a:cubicBezTo>
                    <a:cubicBezTo>
                      <a:pt x="87" y="33"/>
                      <a:pt x="98" y="22"/>
                      <a:pt x="110" y="11"/>
                    </a:cubicBezTo>
                    <a:cubicBezTo>
                      <a:pt x="114" y="8"/>
                      <a:pt x="116" y="0"/>
                      <a:pt x="121" y="3"/>
                    </a:cubicBezTo>
                    <a:cubicBezTo>
                      <a:pt x="140" y="11"/>
                      <a:pt x="134" y="43"/>
                      <a:pt x="139" y="64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55" name="Freeform 162">
                <a:extLst>
                  <a:ext uri="{FF2B5EF4-FFF2-40B4-BE49-F238E27FC236}">
                    <a16:creationId xmlns:a16="http://schemas.microsoft.com/office/drawing/2014/main" id="{84066834-861D-40C5-939E-6E6C5393CF0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19371" y="1709743"/>
                <a:ext cx="1695457" cy="2039945"/>
              </a:xfrm>
              <a:custGeom>
                <a:avLst/>
                <a:gdLst>
                  <a:gd name="T0" fmla="*/ 289 w 452"/>
                  <a:gd name="T1" fmla="*/ 0 h 544"/>
                  <a:gd name="T2" fmla="*/ 293 w 452"/>
                  <a:gd name="T3" fmla="*/ 0 h 544"/>
                  <a:gd name="T4" fmla="*/ 403 w 452"/>
                  <a:gd name="T5" fmla="*/ 35 h 544"/>
                  <a:gd name="T6" fmla="*/ 413 w 452"/>
                  <a:gd name="T7" fmla="*/ 78 h 544"/>
                  <a:gd name="T8" fmla="*/ 414 w 452"/>
                  <a:gd name="T9" fmla="*/ 130 h 544"/>
                  <a:gd name="T10" fmla="*/ 421 w 452"/>
                  <a:gd name="T11" fmla="*/ 163 h 544"/>
                  <a:gd name="T12" fmla="*/ 424 w 452"/>
                  <a:gd name="T13" fmla="*/ 225 h 544"/>
                  <a:gd name="T14" fmla="*/ 446 w 452"/>
                  <a:gd name="T15" fmla="*/ 341 h 544"/>
                  <a:gd name="T16" fmla="*/ 452 w 452"/>
                  <a:gd name="T17" fmla="*/ 475 h 544"/>
                  <a:gd name="T18" fmla="*/ 439 w 452"/>
                  <a:gd name="T19" fmla="*/ 471 h 544"/>
                  <a:gd name="T20" fmla="*/ 395 w 452"/>
                  <a:gd name="T21" fmla="*/ 476 h 544"/>
                  <a:gd name="T22" fmla="*/ 395 w 452"/>
                  <a:gd name="T23" fmla="*/ 513 h 544"/>
                  <a:gd name="T24" fmla="*/ 340 w 452"/>
                  <a:gd name="T25" fmla="*/ 517 h 544"/>
                  <a:gd name="T26" fmla="*/ 289 w 452"/>
                  <a:gd name="T27" fmla="*/ 470 h 544"/>
                  <a:gd name="T28" fmla="*/ 248 w 452"/>
                  <a:gd name="T29" fmla="*/ 372 h 544"/>
                  <a:gd name="T30" fmla="*/ 206 w 452"/>
                  <a:gd name="T31" fmla="*/ 527 h 544"/>
                  <a:gd name="T32" fmla="*/ 70 w 452"/>
                  <a:gd name="T33" fmla="*/ 523 h 544"/>
                  <a:gd name="T34" fmla="*/ 70 w 452"/>
                  <a:gd name="T35" fmla="*/ 499 h 544"/>
                  <a:gd name="T36" fmla="*/ 56 w 452"/>
                  <a:gd name="T37" fmla="*/ 486 h 544"/>
                  <a:gd name="T38" fmla="*/ 4 w 452"/>
                  <a:gd name="T39" fmla="*/ 499 h 544"/>
                  <a:gd name="T40" fmla="*/ 4 w 452"/>
                  <a:gd name="T41" fmla="*/ 364 h 544"/>
                  <a:gd name="T42" fmla="*/ 12 w 452"/>
                  <a:gd name="T43" fmla="*/ 322 h 544"/>
                  <a:gd name="T44" fmla="*/ 16 w 452"/>
                  <a:gd name="T45" fmla="*/ 264 h 544"/>
                  <a:gd name="T46" fmla="*/ 33 w 452"/>
                  <a:gd name="T47" fmla="*/ 124 h 544"/>
                  <a:gd name="T48" fmla="*/ 49 w 452"/>
                  <a:gd name="T49" fmla="*/ 44 h 544"/>
                  <a:gd name="T50" fmla="*/ 107 w 452"/>
                  <a:gd name="T51" fmla="*/ 25 h 544"/>
                  <a:gd name="T52" fmla="*/ 163 w 452"/>
                  <a:gd name="T53" fmla="*/ 4 h 544"/>
                  <a:gd name="T54" fmla="*/ 196 w 452"/>
                  <a:gd name="T55" fmla="*/ 153 h 544"/>
                  <a:gd name="T56" fmla="*/ 228 w 452"/>
                  <a:gd name="T57" fmla="*/ 255 h 544"/>
                  <a:gd name="T58" fmla="*/ 244 w 452"/>
                  <a:gd name="T59" fmla="*/ 285 h 544"/>
                  <a:gd name="T60" fmla="*/ 251 w 452"/>
                  <a:gd name="T61" fmla="*/ 265 h 544"/>
                  <a:gd name="T62" fmla="*/ 256 w 452"/>
                  <a:gd name="T63" fmla="*/ 242 h 544"/>
                  <a:gd name="T64" fmla="*/ 285 w 452"/>
                  <a:gd name="T65" fmla="*/ 109 h 544"/>
                  <a:gd name="T66" fmla="*/ 289 w 452"/>
                  <a:gd name="T67" fmla="*/ 0 h 544"/>
                  <a:gd name="T68" fmla="*/ 80 w 452"/>
                  <a:gd name="T69" fmla="*/ 314 h 544"/>
                  <a:gd name="T70" fmla="*/ 80 w 452"/>
                  <a:gd name="T71" fmla="*/ 344 h 544"/>
                  <a:gd name="T72" fmla="*/ 80 w 452"/>
                  <a:gd name="T73" fmla="*/ 383 h 544"/>
                  <a:gd name="T74" fmla="*/ 92 w 452"/>
                  <a:gd name="T75" fmla="*/ 332 h 544"/>
                  <a:gd name="T76" fmla="*/ 92 w 452"/>
                  <a:gd name="T77" fmla="*/ 265 h 544"/>
                  <a:gd name="T78" fmla="*/ 80 w 452"/>
                  <a:gd name="T79" fmla="*/ 314 h 5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52" h="544">
                    <a:moveTo>
                      <a:pt x="289" y="0"/>
                    </a:moveTo>
                    <a:cubicBezTo>
                      <a:pt x="290" y="0"/>
                      <a:pt x="291" y="0"/>
                      <a:pt x="293" y="0"/>
                    </a:cubicBezTo>
                    <a:cubicBezTo>
                      <a:pt x="329" y="13"/>
                      <a:pt x="366" y="25"/>
                      <a:pt x="403" y="35"/>
                    </a:cubicBezTo>
                    <a:cubicBezTo>
                      <a:pt x="405" y="50"/>
                      <a:pt x="411" y="63"/>
                      <a:pt x="413" y="78"/>
                    </a:cubicBezTo>
                    <a:cubicBezTo>
                      <a:pt x="414" y="95"/>
                      <a:pt x="413" y="112"/>
                      <a:pt x="414" y="130"/>
                    </a:cubicBezTo>
                    <a:cubicBezTo>
                      <a:pt x="414" y="142"/>
                      <a:pt x="420" y="152"/>
                      <a:pt x="421" y="163"/>
                    </a:cubicBezTo>
                    <a:cubicBezTo>
                      <a:pt x="422" y="185"/>
                      <a:pt x="421" y="205"/>
                      <a:pt x="424" y="225"/>
                    </a:cubicBezTo>
                    <a:cubicBezTo>
                      <a:pt x="429" y="265"/>
                      <a:pt x="441" y="302"/>
                      <a:pt x="446" y="341"/>
                    </a:cubicBezTo>
                    <a:cubicBezTo>
                      <a:pt x="451" y="384"/>
                      <a:pt x="449" y="426"/>
                      <a:pt x="452" y="475"/>
                    </a:cubicBezTo>
                    <a:cubicBezTo>
                      <a:pt x="450" y="480"/>
                      <a:pt x="443" y="472"/>
                      <a:pt x="439" y="471"/>
                    </a:cubicBezTo>
                    <a:cubicBezTo>
                      <a:pt x="424" y="467"/>
                      <a:pt x="404" y="467"/>
                      <a:pt x="395" y="476"/>
                    </a:cubicBezTo>
                    <a:cubicBezTo>
                      <a:pt x="395" y="489"/>
                      <a:pt x="395" y="500"/>
                      <a:pt x="395" y="513"/>
                    </a:cubicBezTo>
                    <a:cubicBezTo>
                      <a:pt x="375" y="513"/>
                      <a:pt x="357" y="519"/>
                      <a:pt x="340" y="517"/>
                    </a:cubicBezTo>
                    <a:cubicBezTo>
                      <a:pt x="312" y="514"/>
                      <a:pt x="301" y="490"/>
                      <a:pt x="289" y="470"/>
                    </a:cubicBezTo>
                    <a:cubicBezTo>
                      <a:pt x="273" y="443"/>
                      <a:pt x="256" y="400"/>
                      <a:pt x="248" y="372"/>
                    </a:cubicBezTo>
                    <a:cubicBezTo>
                      <a:pt x="238" y="428"/>
                      <a:pt x="235" y="489"/>
                      <a:pt x="206" y="527"/>
                    </a:cubicBezTo>
                    <a:cubicBezTo>
                      <a:pt x="171" y="544"/>
                      <a:pt x="108" y="532"/>
                      <a:pt x="70" y="523"/>
                    </a:cubicBezTo>
                    <a:cubicBezTo>
                      <a:pt x="70" y="515"/>
                      <a:pt x="70" y="506"/>
                      <a:pt x="70" y="499"/>
                    </a:cubicBezTo>
                    <a:cubicBezTo>
                      <a:pt x="63" y="501"/>
                      <a:pt x="61" y="490"/>
                      <a:pt x="56" y="486"/>
                    </a:cubicBezTo>
                    <a:cubicBezTo>
                      <a:pt x="35" y="486"/>
                      <a:pt x="19" y="492"/>
                      <a:pt x="4" y="499"/>
                    </a:cubicBezTo>
                    <a:cubicBezTo>
                      <a:pt x="7" y="454"/>
                      <a:pt x="0" y="410"/>
                      <a:pt x="4" y="364"/>
                    </a:cubicBezTo>
                    <a:cubicBezTo>
                      <a:pt x="4" y="350"/>
                      <a:pt x="10" y="336"/>
                      <a:pt x="12" y="322"/>
                    </a:cubicBezTo>
                    <a:cubicBezTo>
                      <a:pt x="14" y="303"/>
                      <a:pt x="14" y="283"/>
                      <a:pt x="16" y="264"/>
                    </a:cubicBezTo>
                    <a:cubicBezTo>
                      <a:pt x="23" y="218"/>
                      <a:pt x="24" y="170"/>
                      <a:pt x="33" y="124"/>
                    </a:cubicBezTo>
                    <a:cubicBezTo>
                      <a:pt x="40" y="97"/>
                      <a:pt x="41" y="69"/>
                      <a:pt x="49" y="44"/>
                    </a:cubicBezTo>
                    <a:cubicBezTo>
                      <a:pt x="67" y="35"/>
                      <a:pt x="87" y="31"/>
                      <a:pt x="107" y="25"/>
                    </a:cubicBezTo>
                    <a:cubicBezTo>
                      <a:pt x="125" y="17"/>
                      <a:pt x="143" y="9"/>
                      <a:pt x="163" y="4"/>
                    </a:cubicBezTo>
                    <a:cubicBezTo>
                      <a:pt x="175" y="54"/>
                      <a:pt x="184" y="105"/>
                      <a:pt x="196" y="153"/>
                    </a:cubicBezTo>
                    <a:cubicBezTo>
                      <a:pt x="205" y="189"/>
                      <a:pt x="217" y="223"/>
                      <a:pt x="228" y="255"/>
                    </a:cubicBezTo>
                    <a:cubicBezTo>
                      <a:pt x="232" y="265"/>
                      <a:pt x="235" y="279"/>
                      <a:pt x="244" y="285"/>
                    </a:cubicBezTo>
                    <a:cubicBezTo>
                      <a:pt x="251" y="280"/>
                      <a:pt x="249" y="271"/>
                      <a:pt x="251" y="265"/>
                    </a:cubicBezTo>
                    <a:cubicBezTo>
                      <a:pt x="252" y="257"/>
                      <a:pt x="253" y="250"/>
                      <a:pt x="256" y="242"/>
                    </a:cubicBezTo>
                    <a:cubicBezTo>
                      <a:pt x="265" y="196"/>
                      <a:pt x="278" y="154"/>
                      <a:pt x="285" y="109"/>
                    </a:cubicBezTo>
                    <a:cubicBezTo>
                      <a:pt x="290" y="75"/>
                      <a:pt x="286" y="35"/>
                      <a:pt x="289" y="0"/>
                    </a:cubicBezTo>
                    <a:close/>
                    <a:moveTo>
                      <a:pt x="80" y="314"/>
                    </a:moveTo>
                    <a:cubicBezTo>
                      <a:pt x="79" y="323"/>
                      <a:pt x="82" y="334"/>
                      <a:pt x="80" y="344"/>
                    </a:cubicBezTo>
                    <a:cubicBezTo>
                      <a:pt x="80" y="356"/>
                      <a:pt x="76" y="370"/>
                      <a:pt x="80" y="383"/>
                    </a:cubicBezTo>
                    <a:cubicBezTo>
                      <a:pt x="84" y="367"/>
                      <a:pt x="88" y="350"/>
                      <a:pt x="92" y="332"/>
                    </a:cubicBezTo>
                    <a:cubicBezTo>
                      <a:pt x="96" y="313"/>
                      <a:pt x="101" y="281"/>
                      <a:pt x="92" y="265"/>
                    </a:cubicBezTo>
                    <a:cubicBezTo>
                      <a:pt x="91" y="284"/>
                      <a:pt x="83" y="297"/>
                      <a:pt x="80" y="314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56" name="Freeform 163">
                <a:extLst>
                  <a:ext uri="{FF2B5EF4-FFF2-40B4-BE49-F238E27FC236}">
                    <a16:creationId xmlns:a16="http://schemas.microsoft.com/office/drawing/2014/main" id="{18C7D0D9-6B3A-4C8F-9CF1-87229D62BA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70225" y="1665292"/>
                <a:ext cx="839790" cy="1258889"/>
              </a:xfrm>
              <a:custGeom>
                <a:avLst/>
                <a:gdLst>
                  <a:gd name="T0" fmla="*/ 160 w 224"/>
                  <a:gd name="T1" fmla="*/ 0 h 336"/>
                  <a:gd name="T2" fmla="*/ 161 w 224"/>
                  <a:gd name="T3" fmla="*/ 0 h 336"/>
                  <a:gd name="T4" fmla="*/ 192 w 224"/>
                  <a:gd name="T5" fmla="*/ 20 h 336"/>
                  <a:gd name="T6" fmla="*/ 219 w 224"/>
                  <a:gd name="T7" fmla="*/ 62 h 336"/>
                  <a:gd name="T8" fmla="*/ 202 w 224"/>
                  <a:gd name="T9" fmla="*/ 79 h 336"/>
                  <a:gd name="T10" fmla="*/ 224 w 224"/>
                  <a:gd name="T11" fmla="*/ 101 h 336"/>
                  <a:gd name="T12" fmla="*/ 224 w 224"/>
                  <a:gd name="T13" fmla="*/ 104 h 336"/>
                  <a:gd name="T14" fmla="*/ 122 w 224"/>
                  <a:gd name="T15" fmla="*/ 336 h 336"/>
                  <a:gd name="T16" fmla="*/ 121 w 224"/>
                  <a:gd name="T17" fmla="*/ 308 h 336"/>
                  <a:gd name="T18" fmla="*/ 2 w 224"/>
                  <a:gd name="T19" fmla="*/ 111 h 336"/>
                  <a:gd name="T20" fmla="*/ 17 w 224"/>
                  <a:gd name="T21" fmla="*/ 84 h 336"/>
                  <a:gd name="T22" fmla="*/ 0 w 224"/>
                  <a:gd name="T23" fmla="*/ 65 h 336"/>
                  <a:gd name="T24" fmla="*/ 0 w 224"/>
                  <a:gd name="T25" fmla="*/ 63 h 336"/>
                  <a:gd name="T26" fmla="*/ 48 w 224"/>
                  <a:gd name="T27" fmla="*/ 8 h 336"/>
                  <a:gd name="T28" fmla="*/ 122 w 224"/>
                  <a:gd name="T29" fmla="*/ 293 h 336"/>
                  <a:gd name="T30" fmla="*/ 160 w 224"/>
                  <a:gd name="T31" fmla="*/ 0 h 3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24" h="336">
                    <a:moveTo>
                      <a:pt x="160" y="0"/>
                    </a:moveTo>
                    <a:cubicBezTo>
                      <a:pt x="160" y="0"/>
                      <a:pt x="160" y="0"/>
                      <a:pt x="161" y="0"/>
                    </a:cubicBezTo>
                    <a:cubicBezTo>
                      <a:pt x="169" y="9"/>
                      <a:pt x="177" y="18"/>
                      <a:pt x="192" y="20"/>
                    </a:cubicBezTo>
                    <a:cubicBezTo>
                      <a:pt x="200" y="35"/>
                      <a:pt x="210" y="48"/>
                      <a:pt x="219" y="62"/>
                    </a:cubicBezTo>
                    <a:cubicBezTo>
                      <a:pt x="217" y="69"/>
                      <a:pt x="206" y="72"/>
                      <a:pt x="202" y="79"/>
                    </a:cubicBezTo>
                    <a:cubicBezTo>
                      <a:pt x="209" y="87"/>
                      <a:pt x="217" y="95"/>
                      <a:pt x="224" y="101"/>
                    </a:cubicBezTo>
                    <a:cubicBezTo>
                      <a:pt x="224" y="102"/>
                      <a:pt x="224" y="104"/>
                      <a:pt x="224" y="104"/>
                    </a:cubicBezTo>
                    <a:cubicBezTo>
                      <a:pt x="197" y="189"/>
                      <a:pt x="160" y="263"/>
                      <a:pt x="122" y="336"/>
                    </a:cubicBezTo>
                    <a:cubicBezTo>
                      <a:pt x="117" y="333"/>
                      <a:pt x="118" y="315"/>
                      <a:pt x="121" y="308"/>
                    </a:cubicBezTo>
                    <a:cubicBezTo>
                      <a:pt x="77" y="247"/>
                      <a:pt x="35" y="184"/>
                      <a:pt x="2" y="111"/>
                    </a:cubicBezTo>
                    <a:cubicBezTo>
                      <a:pt x="6" y="101"/>
                      <a:pt x="12" y="93"/>
                      <a:pt x="17" y="84"/>
                    </a:cubicBezTo>
                    <a:cubicBezTo>
                      <a:pt x="15" y="76"/>
                      <a:pt x="7" y="72"/>
                      <a:pt x="0" y="65"/>
                    </a:cubicBezTo>
                    <a:cubicBezTo>
                      <a:pt x="0" y="65"/>
                      <a:pt x="0" y="64"/>
                      <a:pt x="0" y="63"/>
                    </a:cubicBezTo>
                    <a:cubicBezTo>
                      <a:pt x="16" y="44"/>
                      <a:pt x="25" y="18"/>
                      <a:pt x="48" y="8"/>
                    </a:cubicBezTo>
                    <a:cubicBezTo>
                      <a:pt x="73" y="104"/>
                      <a:pt x="95" y="200"/>
                      <a:pt x="122" y="293"/>
                    </a:cubicBezTo>
                    <a:cubicBezTo>
                      <a:pt x="136" y="198"/>
                      <a:pt x="164" y="114"/>
                      <a:pt x="160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57" name="Freeform 164">
                <a:extLst>
                  <a:ext uri="{FF2B5EF4-FFF2-40B4-BE49-F238E27FC236}">
                    <a16:creationId xmlns:a16="http://schemas.microsoft.com/office/drawing/2014/main" id="{E3A8DDB0-A910-40B1-9FF6-84C9F13E71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9611" y="1619255"/>
                <a:ext cx="165099" cy="330202"/>
              </a:xfrm>
              <a:custGeom>
                <a:avLst/>
                <a:gdLst>
                  <a:gd name="T0" fmla="*/ 0 w 44"/>
                  <a:gd name="T1" fmla="*/ 21 h 88"/>
                  <a:gd name="T2" fmla="*/ 0 w 44"/>
                  <a:gd name="T3" fmla="*/ 21 h 88"/>
                  <a:gd name="T4" fmla="*/ 12 w 44"/>
                  <a:gd name="T5" fmla="*/ 0 h 88"/>
                  <a:gd name="T6" fmla="*/ 44 w 44"/>
                  <a:gd name="T7" fmla="*/ 46 h 88"/>
                  <a:gd name="T8" fmla="*/ 19 w 44"/>
                  <a:gd name="T9" fmla="*/ 88 h 88"/>
                  <a:gd name="T10" fmla="*/ 0 w 44"/>
                  <a:gd name="T11" fmla="*/ 21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88">
                    <a:moveTo>
                      <a:pt x="0" y="21"/>
                    </a:moveTo>
                    <a:cubicBezTo>
                      <a:pt x="0" y="21"/>
                      <a:pt x="0" y="21"/>
                      <a:pt x="0" y="21"/>
                    </a:cubicBezTo>
                    <a:cubicBezTo>
                      <a:pt x="8" y="17"/>
                      <a:pt x="6" y="4"/>
                      <a:pt x="12" y="0"/>
                    </a:cubicBezTo>
                    <a:cubicBezTo>
                      <a:pt x="17" y="21"/>
                      <a:pt x="35" y="28"/>
                      <a:pt x="44" y="46"/>
                    </a:cubicBezTo>
                    <a:cubicBezTo>
                      <a:pt x="32" y="56"/>
                      <a:pt x="35" y="82"/>
                      <a:pt x="19" y="88"/>
                    </a:cubicBezTo>
                    <a:cubicBezTo>
                      <a:pt x="11" y="63"/>
                      <a:pt x="8" y="50"/>
                      <a:pt x="0" y="21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58" name="Freeform 165">
                <a:extLst>
                  <a:ext uri="{FF2B5EF4-FFF2-40B4-BE49-F238E27FC236}">
                    <a16:creationId xmlns:a16="http://schemas.microsoft.com/office/drawing/2014/main" id="{E8AB418A-1B8E-4268-8F9D-86FA28810F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65526" y="1619255"/>
                <a:ext cx="134939" cy="346075"/>
              </a:xfrm>
              <a:custGeom>
                <a:avLst/>
                <a:gdLst>
                  <a:gd name="T0" fmla="*/ 22 w 36"/>
                  <a:gd name="T1" fmla="*/ 0 h 92"/>
                  <a:gd name="T2" fmla="*/ 22 w 36"/>
                  <a:gd name="T3" fmla="*/ 92 h 92"/>
                  <a:gd name="T4" fmla="*/ 0 w 36"/>
                  <a:gd name="T5" fmla="*/ 46 h 92"/>
                  <a:gd name="T6" fmla="*/ 22 w 36"/>
                  <a:gd name="T7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6" h="92">
                    <a:moveTo>
                      <a:pt x="22" y="0"/>
                    </a:moveTo>
                    <a:cubicBezTo>
                      <a:pt x="36" y="13"/>
                      <a:pt x="29" y="69"/>
                      <a:pt x="22" y="92"/>
                    </a:cubicBezTo>
                    <a:cubicBezTo>
                      <a:pt x="3" y="91"/>
                      <a:pt x="8" y="55"/>
                      <a:pt x="0" y="46"/>
                    </a:cubicBezTo>
                    <a:cubicBezTo>
                      <a:pt x="4" y="29"/>
                      <a:pt x="22" y="26"/>
                      <a:pt x="22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59" name="Freeform 166">
                <a:extLst>
                  <a:ext uri="{FF2B5EF4-FFF2-40B4-BE49-F238E27FC236}">
                    <a16:creationId xmlns:a16="http://schemas.microsoft.com/office/drawing/2014/main" id="{582AF44F-77C9-45D6-A63D-E6174945F3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6274" y="955678"/>
                <a:ext cx="581026" cy="346075"/>
              </a:xfrm>
              <a:custGeom>
                <a:avLst/>
                <a:gdLst>
                  <a:gd name="T0" fmla="*/ 20 w 155"/>
                  <a:gd name="T1" fmla="*/ 49 h 92"/>
                  <a:gd name="T2" fmla="*/ 54 w 155"/>
                  <a:gd name="T3" fmla="*/ 54 h 92"/>
                  <a:gd name="T4" fmla="*/ 98 w 155"/>
                  <a:gd name="T5" fmla="*/ 59 h 92"/>
                  <a:gd name="T6" fmla="*/ 128 w 155"/>
                  <a:gd name="T7" fmla="*/ 67 h 92"/>
                  <a:gd name="T8" fmla="*/ 136 w 155"/>
                  <a:gd name="T9" fmla="*/ 92 h 92"/>
                  <a:gd name="T10" fmla="*/ 105 w 155"/>
                  <a:gd name="T11" fmla="*/ 5 h 92"/>
                  <a:gd name="T12" fmla="*/ 55 w 155"/>
                  <a:gd name="T13" fmla="*/ 4 h 92"/>
                  <a:gd name="T14" fmla="*/ 24 w 155"/>
                  <a:gd name="T15" fmla="*/ 21 h 92"/>
                  <a:gd name="T16" fmla="*/ 0 w 155"/>
                  <a:gd name="T17" fmla="*/ 45 h 92"/>
                  <a:gd name="T18" fmla="*/ 6 w 155"/>
                  <a:gd name="T19" fmla="*/ 91 h 92"/>
                  <a:gd name="T20" fmla="*/ 7 w 155"/>
                  <a:gd name="T21" fmla="*/ 91 h 92"/>
                  <a:gd name="T22" fmla="*/ 20 w 155"/>
                  <a:gd name="T23" fmla="*/ 49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5" h="92">
                    <a:moveTo>
                      <a:pt x="20" y="49"/>
                    </a:moveTo>
                    <a:cubicBezTo>
                      <a:pt x="28" y="48"/>
                      <a:pt x="33" y="47"/>
                      <a:pt x="54" y="54"/>
                    </a:cubicBezTo>
                    <a:cubicBezTo>
                      <a:pt x="75" y="60"/>
                      <a:pt x="90" y="69"/>
                      <a:pt x="98" y="59"/>
                    </a:cubicBezTo>
                    <a:cubicBezTo>
                      <a:pt x="107" y="49"/>
                      <a:pt x="127" y="62"/>
                      <a:pt x="128" y="67"/>
                    </a:cubicBezTo>
                    <a:cubicBezTo>
                      <a:pt x="130" y="73"/>
                      <a:pt x="136" y="92"/>
                      <a:pt x="136" y="92"/>
                    </a:cubicBezTo>
                    <a:cubicBezTo>
                      <a:pt x="155" y="54"/>
                      <a:pt x="132" y="19"/>
                      <a:pt x="105" y="5"/>
                    </a:cubicBezTo>
                    <a:cubicBezTo>
                      <a:pt x="86" y="5"/>
                      <a:pt x="69" y="0"/>
                      <a:pt x="55" y="4"/>
                    </a:cubicBezTo>
                    <a:cubicBezTo>
                      <a:pt x="43" y="6"/>
                      <a:pt x="34" y="15"/>
                      <a:pt x="24" y="21"/>
                    </a:cubicBezTo>
                    <a:cubicBezTo>
                      <a:pt x="15" y="29"/>
                      <a:pt x="4" y="35"/>
                      <a:pt x="0" y="45"/>
                    </a:cubicBezTo>
                    <a:cubicBezTo>
                      <a:pt x="1" y="62"/>
                      <a:pt x="1" y="77"/>
                      <a:pt x="6" y="91"/>
                    </a:cubicBezTo>
                    <a:cubicBezTo>
                      <a:pt x="7" y="91"/>
                      <a:pt x="7" y="91"/>
                      <a:pt x="7" y="91"/>
                    </a:cubicBezTo>
                    <a:cubicBezTo>
                      <a:pt x="9" y="82"/>
                      <a:pt x="14" y="51"/>
                      <a:pt x="20" y="49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60" name="Freeform 167">
                <a:extLst>
                  <a:ext uri="{FF2B5EF4-FFF2-40B4-BE49-F238E27FC236}">
                    <a16:creationId xmlns:a16="http://schemas.microsoft.com/office/drawing/2014/main" id="{D56DAD8B-49FC-4FE9-A9B3-331D4A5BA1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16312" y="2133606"/>
                <a:ext cx="71438" cy="96838"/>
              </a:xfrm>
              <a:custGeom>
                <a:avLst/>
                <a:gdLst>
                  <a:gd name="T0" fmla="*/ 5 w 19"/>
                  <a:gd name="T1" fmla="*/ 10 h 26"/>
                  <a:gd name="T2" fmla="*/ 11 w 19"/>
                  <a:gd name="T3" fmla="*/ 2 h 26"/>
                  <a:gd name="T4" fmla="*/ 15 w 19"/>
                  <a:gd name="T5" fmla="*/ 10 h 26"/>
                  <a:gd name="T6" fmla="*/ 0 w 19"/>
                  <a:gd name="T7" fmla="*/ 22 h 26"/>
                  <a:gd name="T8" fmla="*/ 5 w 19"/>
                  <a:gd name="T9" fmla="*/ 1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6">
                    <a:moveTo>
                      <a:pt x="5" y="10"/>
                    </a:moveTo>
                    <a:cubicBezTo>
                      <a:pt x="9" y="6"/>
                      <a:pt x="5" y="0"/>
                      <a:pt x="11" y="2"/>
                    </a:cubicBezTo>
                    <a:cubicBezTo>
                      <a:pt x="16" y="4"/>
                      <a:pt x="19" y="5"/>
                      <a:pt x="15" y="10"/>
                    </a:cubicBezTo>
                    <a:cubicBezTo>
                      <a:pt x="11" y="16"/>
                      <a:pt x="0" y="26"/>
                      <a:pt x="0" y="22"/>
                    </a:cubicBezTo>
                    <a:cubicBezTo>
                      <a:pt x="0" y="19"/>
                      <a:pt x="5" y="10"/>
                      <a:pt x="5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61" name="Freeform 168">
                <a:extLst>
                  <a:ext uri="{FF2B5EF4-FFF2-40B4-BE49-F238E27FC236}">
                    <a16:creationId xmlns:a16="http://schemas.microsoft.com/office/drawing/2014/main" id="{DB18FA6B-6989-4DBE-B9B7-E996F1711D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7261" y="2354269"/>
                <a:ext cx="71438" cy="93661"/>
              </a:xfrm>
              <a:custGeom>
                <a:avLst/>
                <a:gdLst>
                  <a:gd name="T0" fmla="*/ 6 w 19"/>
                  <a:gd name="T1" fmla="*/ 10 h 25"/>
                  <a:gd name="T2" fmla="*/ 11 w 19"/>
                  <a:gd name="T3" fmla="*/ 2 h 25"/>
                  <a:gd name="T4" fmla="*/ 15 w 19"/>
                  <a:gd name="T5" fmla="*/ 10 h 25"/>
                  <a:gd name="T6" fmla="*/ 0 w 19"/>
                  <a:gd name="T7" fmla="*/ 22 h 25"/>
                  <a:gd name="T8" fmla="*/ 6 w 19"/>
                  <a:gd name="T9" fmla="*/ 1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5">
                    <a:moveTo>
                      <a:pt x="6" y="10"/>
                    </a:moveTo>
                    <a:cubicBezTo>
                      <a:pt x="9" y="5"/>
                      <a:pt x="6" y="0"/>
                      <a:pt x="11" y="2"/>
                    </a:cubicBezTo>
                    <a:cubicBezTo>
                      <a:pt x="16" y="4"/>
                      <a:pt x="19" y="4"/>
                      <a:pt x="15" y="10"/>
                    </a:cubicBezTo>
                    <a:cubicBezTo>
                      <a:pt x="11" y="15"/>
                      <a:pt x="0" y="25"/>
                      <a:pt x="0" y="22"/>
                    </a:cubicBezTo>
                    <a:cubicBezTo>
                      <a:pt x="0" y="19"/>
                      <a:pt x="6" y="10"/>
                      <a:pt x="6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62" name="Freeform 169">
                <a:extLst>
                  <a:ext uri="{FF2B5EF4-FFF2-40B4-BE49-F238E27FC236}">
                    <a16:creationId xmlns:a16="http://schemas.microsoft.com/office/drawing/2014/main" id="{F6236EE1-997F-48A7-9B19-4517D67CA1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27349" y="2073282"/>
                <a:ext cx="49214" cy="630240"/>
              </a:xfrm>
              <a:custGeom>
                <a:avLst/>
                <a:gdLst>
                  <a:gd name="T0" fmla="*/ 10 w 13"/>
                  <a:gd name="T1" fmla="*/ 168 h 168"/>
                  <a:gd name="T2" fmla="*/ 6 w 13"/>
                  <a:gd name="T3" fmla="*/ 39 h 168"/>
                  <a:gd name="T4" fmla="*/ 6 w 13"/>
                  <a:gd name="T5" fmla="*/ 10 h 168"/>
                  <a:gd name="T6" fmla="*/ 13 w 13"/>
                  <a:gd name="T7" fmla="*/ 10 h 168"/>
                  <a:gd name="T8" fmla="*/ 10 w 13"/>
                  <a:gd name="T9" fmla="*/ 168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68">
                    <a:moveTo>
                      <a:pt x="10" y="168"/>
                    </a:moveTo>
                    <a:cubicBezTo>
                      <a:pt x="10" y="168"/>
                      <a:pt x="11" y="61"/>
                      <a:pt x="6" y="39"/>
                    </a:cubicBezTo>
                    <a:cubicBezTo>
                      <a:pt x="0" y="17"/>
                      <a:pt x="2" y="10"/>
                      <a:pt x="6" y="10"/>
                    </a:cubicBezTo>
                    <a:cubicBezTo>
                      <a:pt x="10" y="10"/>
                      <a:pt x="13" y="0"/>
                      <a:pt x="13" y="10"/>
                    </a:cubicBezTo>
                    <a:cubicBezTo>
                      <a:pt x="13" y="20"/>
                      <a:pt x="10" y="168"/>
                      <a:pt x="10" y="168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63" name="Freeform 170">
                <a:extLst>
                  <a:ext uri="{FF2B5EF4-FFF2-40B4-BE49-F238E27FC236}">
                    <a16:creationId xmlns:a16="http://schemas.microsoft.com/office/drawing/2014/main" id="{0C80D9C6-0E0F-48A3-A7D7-CE23E32C13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06853" y="2106619"/>
                <a:ext cx="98425" cy="1320804"/>
              </a:xfrm>
              <a:custGeom>
                <a:avLst/>
                <a:gdLst>
                  <a:gd name="T0" fmla="*/ 26 w 26"/>
                  <a:gd name="T1" fmla="*/ 352 h 352"/>
                  <a:gd name="T2" fmla="*/ 7 w 26"/>
                  <a:gd name="T3" fmla="*/ 213 h 352"/>
                  <a:gd name="T4" fmla="*/ 7 w 26"/>
                  <a:gd name="T5" fmla="*/ 145 h 352"/>
                  <a:gd name="T6" fmla="*/ 0 w 26"/>
                  <a:gd name="T7" fmla="*/ 30 h 352"/>
                  <a:gd name="T8" fmla="*/ 10 w 26"/>
                  <a:gd name="T9" fmla="*/ 0 h 352"/>
                  <a:gd name="T10" fmla="*/ 10 w 26"/>
                  <a:gd name="T11" fmla="*/ 6 h 352"/>
                  <a:gd name="T12" fmla="*/ 26 w 26"/>
                  <a:gd name="T13" fmla="*/ 352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352">
                    <a:moveTo>
                      <a:pt x="26" y="352"/>
                    </a:moveTo>
                    <a:cubicBezTo>
                      <a:pt x="26" y="347"/>
                      <a:pt x="8" y="236"/>
                      <a:pt x="7" y="213"/>
                    </a:cubicBezTo>
                    <a:cubicBezTo>
                      <a:pt x="6" y="189"/>
                      <a:pt x="9" y="165"/>
                      <a:pt x="7" y="145"/>
                    </a:cubicBezTo>
                    <a:cubicBezTo>
                      <a:pt x="5" y="126"/>
                      <a:pt x="0" y="48"/>
                      <a:pt x="0" y="30"/>
                    </a:cubicBezTo>
                    <a:cubicBezTo>
                      <a:pt x="1" y="12"/>
                      <a:pt x="10" y="0"/>
                      <a:pt x="10" y="0"/>
                    </a:cubicBezTo>
                    <a:cubicBezTo>
                      <a:pt x="10" y="6"/>
                      <a:pt x="10" y="6"/>
                      <a:pt x="10" y="6"/>
                    </a:cubicBezTo>
                    <a:lnTo>
                      <a:pt x="26" y="352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64" name="Freeform 171">
                <a:extLst>
                  <a:ext uri="{FF2B5EF4-FFF2-40B4-BE49-F238E27FC236}">
                    <a16:creationId xmlns:a16="http://schemas.microsoft.com/office/drawing/2014/main" id="{203F09B6-D68B-4B2D-A0AF-C2972FBAF7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0476" y="3135321"/>
                <a:ext cx="222250" cy="58738"/>
              </a:xfrm>
              <a:custGeom>
                <a:avLst/>
                <a:gdLst>
                  <a:gd name="T0" fmla="*/ 0 w 59"/>
                  <a:gd name="T1" fmla="*/ 16 h 16"/>
                  <a:gd name="T2" fmla="*/ 52 w 59"/>
                  <a:gd name="T3" fmla="*/ 7 h 16"/>
                  <a:gd name="T4" fmla="*/ 59 w 59"/>
                  <a:gd name="T5" fmla="*/ 7 h 16"/>
                  <a:gd name="T6" fmla="*/ 0 w 59"/>
                  <a:gd name="T7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9" h="16">
                    <a:moveTo>
                      <a:pt x="0" y="16"/>
                    </a:moveTo>
                    <a:cubicBezTo>
                      <a:pt x="0" y="16"/>
                      <a:pt x="49" y="13"/>
                      <a:pt x="52" y="7"/>
                    </a:cubicBezTo>
                    <a:cubicBezTo>
                      <a:pt x="55" y="0"/>
                      <a:pt x="59" y="3"/>
                      <a:pt x="59" y="7"/>
                    </a:cubicBezTo>
                    <a:cubicBezTo>
                      <a:pt x="58" y="11"/>
                      <a:pt x="0" y="16"/>
                      <a:pt x="0" y="16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65" name="Freeform 172">
                <a:extLst>
                  <a:ext uri="{FF2B5EF4-FFF2-40B4-BE49-F238E27FC236}">
                    <a16:creationId xmlns:a16="http://schemas.microsoft.com/office/drawing/2014/main" id="{8FE80603-6CDA-4620-A3AB-A099300971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7627" y="3224223"/>
                <a:ext cx="198440" cy="282574"/>
              </a:xfrm>
              <a:custGeom>
                <a:avLst/>
                <a:gdLst>
                  <a:gd name="T0" fmla="*/ 44 w 53"/>
                  <a:gd name="T1" fmla="*/ 0 h 75"/>
                  <a:gd name="T2" fmla="*/ 53 w 53"/>
                  <a:gd name="T3" fmla="*/ 75 h 75"/>
                  <a:gd name="T4" fmla="*/ 24 w 53"/>
                  <a:gd name="T5" fmla="*/ 75 h 75"/>
                  <a:gd name="T6" fmla="*/ 14 w 53"/>
                  <a:gd name="T7" fmla="*/ 69 h 75"/>
                  <a:gd name="T8" fmla="*/ 34 w 53"/>
                  <a:gd name="T9" fmla="*/ 61 h 75"/>
                  <a:gd name="T10" fmla="*/ 22 w 53"/>
                  <a:gd name="T11" fmla="*/ 38 h 75"/>
                  <a:gd name="T12" fmla="*/ 44 w 53"/>
                  <a:gd name="T1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3" h="75">
                    <a:moveTo>
                      <a:pt x="44" y="0"/>
                    </a:moveTo>
                    <a:cubicBezTo>
                      <a:pt x="53" y="75"/>
                      <a:pt x="53" y="75"/>
                      <a:pt x="53" y="75"/>
                    </a:cubicBezTo>
                    <a:cubicBezTo>
                      <a:pt x="24" y="75"/>
                      <a:pt x="24" y="75"/>
                      <a:pt x="24" y="75"/>
                    </a:cubicBezTo>
                    <a:cubicBezTo>
                      <a:pt x="24" y="75"/>
                      <a:pt x="0" y="69"/>
                      <a:pt x="14" y="69"/>
                    </a:cubicBezTo>
                    <a:cubicBezTo>
                      <a:pt x="29" y="68"/>
                      <a:pt x="42" y="73"/>
                      <a:pt x="34" y="61"/>
                    </a:cubicBezTo>
                    <a:cubicBezTo>
                      <a:pt x="27" y="48"/>
                      <a:pt x="6" y="41"/>
                      <a:pt x="22" y="38"/>
                    </a:cubicBezTo>
                    <a:cubicBezTo>
                      <a:pt x="38" y="34"/>
                      <a:pt x="44" y="0"/>
                      <a:pt x="44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66" name="Freeform 173">
                <a:extLst>
                  <a:ext uri="{FF2B5EF4-FFF2-40B4-BE49-F238E27FC236}">
                    <a16:creationId xmlns:a16="http://schemas.microsoft.com/office/drawing/2014/main" id="{5CE15220-61D9-463E-B92B-C2DE6245AD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59122" y="2576519"/>
                <a:ext cx="60324" cy="490537"/>
              </a:xfrm>
              <a:custGeom>
                <a:avLst/>
                <a:gdLst>
                  <a:gd name="T0" fmla="*/ 0 w 38"/>
                  <a:gd name="T1" fmla="*/ 0 h 309"/>
                  <a:gd name="T2" fmla="*/ 29 w 38"/>
                  <a:gd name="T3" fmla="*/ 309 h 309"/>
                  <a:gd name="T4" fmla="*/ 38 w 38"/>
                  <a:gd name="T5" fmla="*/ 293 h 309"/>
                  <a:gd name="T6" fmla="*/ 0 w 38"/>
                  <a:gd name="T7" fmla="*/ 0 h 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8" h="309">
                    <a:moveTo>
                      <a:pt x="0" y="0"/>
                    </a:moveTo>
                    <a:lnTo>
                      <a:pt x="29" y="309"/>
                    </a:lnTo>
                    <a:lnTo>
                      <a:pt x="38" y="29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67" name="Freeform 174">
                <a:extLst>
                  <a:ext uri="{FF2B5EF4-FFF2-40B4-BE49-F238E27FC236}">
                    <a16:creationId xmlns:a16="http://schemas.microsoft.com/office/drawing/2014/main" id="{AC824366-BE48-48F4-91B2-C947F55A45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157549"/>
                <a:ext cx="288924" cy="93661"/>
              </a:xfrm>
              <a:custGeom>
                <a:avLst/>
                <a:gdLst>
                  <a:gd name="T0" fmla="*/ 0 w 77"/>
                  <a:gd name="T1" fmla="*/ 0 h 25"/>
                  <a:gd name="T2" fmla="*/ 75 w 77"/>
                  <a:gd name="T3" fmla="*/ 10 h 25"/>
                  <a:gd name="T4" fmla="*/ 68 w 77"/>
                  <a:gd name="T5" fmla="*/ 25 h 25"/>
                  <a:gd name="T6" fmla="*/ 0 w 77"/>
                  <a:gd name="T7" fmla="*/ 12 h 25"/>
                  <a:gd name="T8" fmla="*/ 0 w 77"/>
                  <a:gd name="T9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7" h="25">
                    <a:moveTo>
                      <a:pt x="0" y="0"/>
                    </a:moveTo>
                    <a:cubicBezTo>
                      <a:pt x="0" y="0"/>
                      <a:pt x="73" y="9"/>
                      <a:pt x="75" y="10"/>
                    </a:cubicBezTo>
                    <a:cubicBezTo>
                      <a:pt x="77" y="11"/>
                      <a:pt x="68" y="25"/>
                      <a:pt x="68" y="25"/>
                    </a:cubicBezTo>
                    <a:cubicBezTo>
                      <a:pt x="0" y="12"/>
                      <a:pt x="0" y="12"/>
                      <a:pt x="0" y="12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68" name="Freeform 175">
                <a:extLst>
                  <a:ext uri="{FF2B5EF4-FFF2-40B4-BE49-F238E27FC236}">
                    <a16:creationId xmlns:a16="http://schemas.microsoft.com/office/drawing/2014/main" id="{607B296D-6F62-462E-86B0-599B8CCB48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333761"/>
                <a:ext cx="242887" cy="236537"/>
              </a:xfrm>
              <a:custGeom>
                <a:avLst/>
                <a:gdLst>
                  <a:gd name="T0" fmla="*/ 65 w 65"/>
                  <a:gd name="T1" fmla="*/ 0 h 63"/>
                  <a:gd name="T2" fmla="*/ 50 w 65"/>
                  <a:gd name="T3" fmla="*/ 60 h 63"/>
                  <a:gd name="T4" fmla="*/ 9 w 65"/>
                  <a:gd name="T5" fmla="*/ 52 h 63"/>
                  <a:gd name="T6" fmla="*/ 18 w 65"/>
                  <a:gd name="T7" fmla="*/ 46 h 63"/>
                  <a:gd name="T8" fmla="*/ 49 w 65"/>
                  <a:gd name="T9" fmla="*/ 46 h 63"/>
                  <a:gd name="T10" fmla="*/ 65 w 65"/>
                  <a:gd name="T11" fmla="*/ 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5" h="63">
                    <a:moveTo>
                      <a:pt x="65" y="0"/>
                    </a:moveTo>
                    <a:cubicBezTo>
                      <a:pt x="50" y="60"/>
                      <a:pt x="50" y="60"/>
                      <a:pt x="50" y="60"/>
                    </a:cubicBezTo>
                    <a:cubicBezTo>
                      <a:pt x="9" y="52"/>
                      <a:pt x="9" y="52"/>
                      <a:pt x="9" y="52"/>
                    </a:cubicBezTo>
                    <a:cubicBezTo>
                      <a:pt x="9" y="52"/>
                      <a:pt x="0" y="47"/>
                      <a:pt x="18" y="46"/>
                    </a:cubicBezTo>
                    <a:cubicBezTo>
                      <a:pt x="36" y="46"/>
                      <a:pt x="48" y="63"/>
                      <a:pt x="49" y="46"/>
                    </a:cubicBezTo>
                    <a:cubicBezTo>
                      <a:pt x="50" y="30"/>
                      <a:pt x="65" y="0"/>
                      <a:pt x="65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69" name="Freeform 176">
                <a:extLst>
                  <a:ext uri="{FF2B5EF4-FFF2-40B4-BE49-F238E27FC236}">
                    <a16:creationId xmlns:a16="http://schemas.microsoft.com/office/drawing/2014/main" id="{53FE0E18-6CE9-4BAC-B1F0-04E32D72F3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0183" y="2201870"/>
                <a:ext cx="41274" cy="168276"/>
              </a:xfrm>
              <a:custGeom>
                <a:avLst/>
                <a:gdLst>
                  <a:gd name="T0" fmla="*/ 0 w 11"/>
                  <a:gd name="T1" fmla="*/ 0 h 45"/>
                  <a:gd name="T2" fmla="*/ 0 w 11"/>
                  <a:gd name="T3" fmla="*/ 21 h 45"/>
                  <a:gd name="T4" fmla="*/ 2 w 11"/>
                  <a:gd name="T5" fmla="*/ 42 h 45"/>
                  <a:gd name="T6" fmla="*/ 10 w 11"/>
                  <a:gd name="T7" fmla="*/ 5 h 45"/>
                  <a:gd name="T8" fmla="*/ 0 w 11"/>
                  <a:gd name="T9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45">
                    <a:moveTo>
                      <a:pt x="0" y="0"/>
                    </a:moveTo>
                    <a:cubicBezTo>
                      <a:pt x="0" y="5"/>
                      <a:pt x="0" y="13"/>
                      <a:pt x="0" y="21"/>
                    </a:cubicBezTo>
                    <a:cubicBezTo>
                      <a:pt x="1" y="31"/>
                      <a:pt x="2" y="41"/>
                      <a:pt x="2" y="42"/>
                    </a:cubicBezTo>
                    <a:cubicBezTo>
                      <a:pt x="4" y="45"/>
                      <a:pt x="11" y="8"/>
                      <a:pt x="10" y="5"/>
                    </a:cubicBezTo>
                    <a:cubicBezTo>
                      <a:pt x="8" y="2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70" name="Freeform 177">
                <a:extLst>
                  <a:ext uri="{FF2B5EF4-FFF2-40B4-BE49-F238E27FC236}">
                    <a16:creationId xmlns:a16="http://schemas.microsoft.com/office/drawing/2014/main" id="{B03D04BA-1D6B-4DBD-9C42-2CC95419BC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1758" y="2786069"/>
                <a:ext cx="150812" cy="352425"/>
              </a:xfrm>
              <a:custGeom>
                <a:avLst/>
                <a:gdLst>
                  <a:gd name="T0" fmla="*/ 0 w 40"/>
                  <a:gd name="T1" fmla="*/ 0 h 94"/>
                  <a:gd name="T2" fmla="*/ 20 w 40"/>
                  <a:gd name="T3" fmla="*/ 64 h 94"/>
                  <a:gd name="T4" fmla="*/ 36 w 40"/>
                  <a:gd name="T5" fmla="*/ 82 h 94"/>
                  <a:gd name="T6" fmla="*/ 14 w 40"/>
                  <a:gd name="T7" fmla="*/ 26 h 94"/>
                  <a:gd name="T8" fmla="*/ 0 w 40"/>
                  <a:gd name="T9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94">
                    <a:moveTo>
                      <a:pt x="0" y="0"/>
                    </a:moveTo>
                    <a:cubicBezTo>
                      <a:pt x="0" y="0"/>
                      <a:pt x="12" y="47"/>
                      <a:pt x="20" y="64"/>
                    </a:cubicBezTo>
                    <a:cubicBezTo>
                      <a:pt x="28" y="82"/>
                      <a:pt x="40" y="94"/>
                      <a:pt x="36" y="82"/>
                    </a:cubicBezTo>
                    <a:cubicBezTo>
                      <a:pt x="32" y="69"/>
                      <a:pt x="20" y="36"/>
                      <a:pt x="14" y="26"/>
                    </a:cubicBezTo>
                    <a:cubicBezTo>
                      <a:pt x="9" y="1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71" name="Freeform 178">
                <a:extLst>
                  <a:ext uri="{FF2B5EF4-FFF2-40B4-BE49-F238E27FC236}">
                    <a16:creationId xmlns:a16="http://schemas.microsoft.com/office/drawing/2014/main" id="{BA79DBD5-6FB8-4365-9072-E34688FDB8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9736" y="2860684"/>
                <a:ext cx="49214" cy="247650"/>
              </a:xfrm>
              <a:custGeom>
                <a:avLst/>
                <a:gdLst>
                  <a:gd name="T0" fmla="*/ 0 w 13"/>
                  <a:gd name="T1" fmla="*/ 0 h 66"/>
                  <a:gd name="T2" fmla="*/ 10 w 13"/>
                  <a:gd name="T3" fmla="*/ 31 h 66"/>
                  <a:gd name="T4" fmla="*/ 6 w 13"/>
                  <a:gd name="T5" fmla="*/ 50 h 66"/>
                  <a:gd name="T6" fmla="*/ 0 w 13"/>
                  <a:gd name="T7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66">
                    <a:moveTo>
                      <a:pt x="0" y="0"/>
                    </a:moveTo>
                    <a:cubicBezTo>
                      <a:pt x="0" y="0"/>
                      <a:pt x="13" y="15"/>
                      <a:pt x="10" y="31"/>
                    </a:cubicBezTo>
                    <a:cubicBezTo>
                      <a:pt x="8" y="47"/>
                      <a:pt x="5" y="66"/>
                      <a:pt x="6" y="50"/>
                    </a:cubicBezTo>
                    <a:cubicBezTo>
                      <a:pt x="6" y="3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72" name="Freeform 188">
                <a:extLst>
                  <a:ext uri="{FF2B5EF4-FFF2-40B4-BE49-F238E27FC236}">
                    <a16:creationId xmlns:a16="http://schemas.microsoft.com/office/drawing/2014/main" id="{816F6A5E-72BC-4219-8C8F-11BC26066B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01994" y="1544640"/>
                <a:ext cx="349252" cy="131762"/>
              </a:xfrm>
              <a:custGeom>
                <a:avLst/>
                <a:gdLst>
                  <a:gd name="T0" fmla="*/ 0 w 93"/>
                  <a:gd name="T1" fmla="*/ 0 h 35"/>
                  <a:gd name="T2" fmla="*/ 33 w 93"/>
                  <a:gd name="T3" fmla="*/ 29 h 35"/>
                  <a:gd name="T4" fmla="*/ 68 w 93"/>
                  <a:gd name="T5" fmla="*/ 24 h 35"/>
                  <a:gd name="T6" fmla="*/ 85 w 93"/>
                  <a:gd name="T7" fmla="*/ 7 h 35"/>
                  <a:gd name="T8" fmla="*/ 92 w 93"/>
                  <a:gd name="T9" fmla="*/ 6 h 35"/>
                  <a:gd name="T10" fmla="*/ 85 w 93"/>
                  <a:gd name="T11" fmla="*/ 19 h 35"/>
                  <a:gd name="T12" fmla="*/ 67 w 93"/>
                  <a:gd name="T13" fmla="*/ 32 h 35"/>
                  <a:gd name="T14" fmla="*/ 28 w 93"/>
                  <a:gd name="T15" fmla="*/ 32 h 35"/>
                  <a:gd name="T16" fmla="*/ 0 w 93"/>
                  <a:gd name="T17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3" h="35">
                    <a:moveTo>
                      <a:pt x="0" y="0"/>
                    </a:moveTo>
                    <a:cubicBezTo>
                      <a:pt x="2" y="4"/>
                      <a:pt x="21" y="25"/>
                      <a:pt x="33" y="29"/>
                    </a:cubicBezTo>
                    <a:cubicBezTo>
                      <a:pt x="45" y="32"/>
                      <a:pt x="63" y="29"/>
                      <a:pt x="68" y="24"/>
                    </a:cubicBezTo>
                    <a:cubicBezTo>
                      <a:pt x="73" y="19"/>
                      <a:pt x="84" y="9"/>
                      <a:pt x="85" y="7"/>
                    </a:cubicBezTo>
                    <a:cubicBezTo>
                      <a:pt x="86" y="5"/>
                      <a:pt x="93" y="1"/>
                      <a:pt x="92" y="6"/>
                    </a:cubicBezTo>
                    <a:cubicBezTo>
                      <a:pt x="91" y="10"/>
                      <a:pt x="89" y="14"/>
                      <a:pt x="85" y="19"/>
                    </a:cubicBezTo>
                    <a:cubicBezTo>
                      <a:pt x="82" y="24"/>
                      <a:pt x="75" y="33"/>
                      <a:pt x="67" y="32"/>
                    </a:cubicBezTo>
                    <a:cubicBezTo>
                      <a:pt x="58" y="32"/>
                      <a:pt x="36" y="35"/>
                      <a:pt x="28" y="32"/>
                    </a:cubicBezTo>
                    <a:cubicBezTo>
                      <a:pt x="19" y="3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73" name="Freeform 103">
                <a:extLst>
                  <a:ext uri="{FF2B5EF4-FFF2-40B4-BE49-F238E27FC236}">
                    <a16:creationId xmlns:a16="http://schemas.microsoft.com/office/drawing/2014/main" id="{76B0D58E-8624-4489-9245-16C272481B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3697" y="1061826"/>
                <a:ext cx="226796" cy="66888"/>
              </a:xfrm>
              <a:custGeom>
                <a:avLst/>
                <a:gdLst>
                  <a:gd name="T0" fmla="*/ 9 w 49"/>
                  <a:gd name="T1" fmla="*/ 1 h 23"/>
                  <a:gd name="T2" fmla="*/ 24 w 49"/>
                  <a:gd name="T3" fmla="*/ 8 h 23"/>
                  <a:gd name="T4" fmla="*/ 31 w 49"/>
                  <a:gd name="T5" fmla="*/ 7 h 23"/>
                  <a:gd name="T6" fmla="*/ 44 w 49"/>
                  <a:gd name="T7" fmla="*/ 17 h 23"/>
                  <a:gd name="T8" fmla="*/ 37 w 49"/>
                  <a:gd name="T9" fmla="*/ 17 h 23"/>
                  <a:gd name="T10" fmla="*/ 13 w 49"/>
                  <a:gd name="T11" fmla="*/ 10 h 23"/>
                  <a:gd name="T12" fmla="*/ 9 w 49"/>
                  <a:gd name="T13" fmla="*/ 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" h="23">
                    <a:moveTo>
                      <a:pt x="9" y="1"/>
                    </a:moveTo>
                    <a:cubicBezTo>
                      <a:pt x="9" y="1"/>
                      <a:pt x="20" y="7"/>
                      <a:pt x="24" y="8"/>
                    </a:cubicBezTo>
                    <a:cubicBezTo>
                      <a:pt x="28" y="9"/>
                      <a:pt x="31" y="9"/>
                      <a:pt x="31" y="7"/>
                    </a:cubicBezTo>
                    <a:cubicBezTo>
                      <a:pt x="31" y="4"/>
                      <a:pt x="40" y="11"/>
                      <a:pt x="44" y="17"/>
                    </a:cubicBezTo>
                    <a:cubicBezTo>
                      <a:pt x="49" y="23"/>
                      <a:pt x="44" y="21"/>
                      <a:pt x="37" y="17"/>
                    </a:cubicBezTo>
                    <a:cubicBezTo>
                      <a:pt x="30" y="13"/>
                      <a:pt x="20" y="15"/>
                      <a:pt x="13" y="10"/>
                    </a:cubicBezTo>
                    <a:cubicBezTo>
                      <a:pt x="6" y="5"/>
                      <a:pt x="0" y="0"/>
                      <a:pt x="9" y="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74" name="Freeform 104">
                <a:extLst>
                  <a:ext uri="{FF2B5EF4-FFF2-40B4-BE49-F238E27FC236}">
                    <a16:creationId xmlns:a16="http://schemas.microsoft.com/office/drawing/2014/main" id="{7519F371-555E-4E9B-BD81-AE18EBE9C27C}"/>
                  </a:ext>
                </a:extLst>
              </p:cNvPr>
              <p:cNvSpPr>
                <a:spLocks/>
              </p:cNvSpPr>
              <p:nvPr/>
            </p:nvSpPr>
            <p:spPr bwMode="auto">
              <a:xfrm rot="18643239">
                <a:off x="3555600" y="1040771"/>
                <a:ext cx="87944" cy="175885"/>
              </a:xfrm>
              <a:custGeom>
                <a:avLst/>
                <a:gdLst>
                  <a:gd name="T0" fmla="*/ 12 w 30"/>
                  <a:gd name="T1" fmla="*/ 25 h 60"/>
                  <a:gd name="T2" fmla="*/ 20 w 30"/>
                  <a:gd name="T3" fmla="*/ 19 h 60"/>
                  <a:gd name="T4" fmla="*/ 22 w 30"/>
                  <a:gd name="T5" fmla="*/ 4 h 60"/>
                  <a:gd name="T6" fmla="*/ 24 w 30"/>
                  <a:gd name="T7" fmla="*/ 26 h 60"/>
                  <a:gd name="T8" fmla="*/ 21 w 30"/>
                  <a:gd name="T9" fmla="*/ 37 h 60"/>
                  <a:gd name="T10" fmla="*/ 14 w 30"/>
                  <a:gd name="T11" fmla="*/ 48 h 60"/>
                  <a:gd name="T12" fmla="*/ 8 w 30"/>
                  <a:gd name="T13" fmla="*/ 35 h 60"/>
                  <a:gd name="T14" fmla="*/ 12 w 30"/>
                  <a:gd name="T15" fmla="*/ 25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60">
                    <a:moveTo>
                      <a:pt x="12" y="25"/>
                    </a:moveTo>
                    <a:cubicBezTo>
                      <a:pt x="12" y="25"/>
                      <a:pt x="17" y="24"/>
                      <a:pt x="20" y="19"/>
                    </a:cubicBezTo>
                    <a:cubicBezTo>
                      <a:pt x="24" y="14"/>
                      <a:pt x="22" y="8"/>
                      <a:pt x="22" y="4"/>
                    </a:cubicBezTo>
                    <a:cubicBezTo>
                      <a:pt x="21" y="0"/>
                      <a:pt x="30" y="16"/>
                      <a:pt x="24" y="26"/>
                    </a:cubicBezTo>
                    <a:cubicBezTo>
                      <a:pt x="24" y="26"/>
                      <a:pt x="21" y="34"/>
                      <a:pt x="21" y="37"/>
                    </a:cubicBezTo>
                    <a:cubicBezTo>
                      <a:pt x="21" y="40"/>
                      <a:pt x="20" y="46"/>
                      <a:pt x="14" y="48"/>
                    </a:cubicBezTo>
                    <a:cubicBezTo>
                      <a:pt x="8" y="50"/>
                      <a:pt x="0" y="60"/>
                      <a:pt x="8" y="35"/>
                    </a:cubicBezTo>
                    <a:lnTo>
                      <a:pt x="12" y="25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  <p:sp>
          <p:nvSpPr>
            <p:cNvPr id="602" name="AutoShape 25">
              <a:extLst>
                <a:ext uri="{FF2B5EF4-FFF2-40B4-BE49-F238E27FC236}">
                  <a16:creationId xmlns:a16="http://schemas.microsoft.com/office/drawing/2014/main" id="{E49C4872-EE98-410A-B4FC-7F6D5CF7FD48}"/>
                </a:ext>
              </a:extLst>
            </p:cNvPr>
            <p:cNvSpPr>
              <a:spLocks noChangeArrowheads="1"/>
            </p:cNvSpPr>
            <p:nvPr/>
          </p:nvSpPr>
          <p:spPr bwMode="gray">
            <a:xfrm rot="186187" flipH="1">
              <a:off x="2211065" y="760909"/>
              <a:ext cx="158224" cy="327486"/>
            </a:xfrm>
            <a:custGeom>
              <a:avLst/>
              <a:gdLst>
                <a:gd name="T0" fmla="*/ 794460491 w 792"/>
                <a:gd name="T1" fmla="*/ 729941208 h 2536"/>
                <a:gd name="T2" fmla="*/ 794460491 w 792"/>
                <a:gd name="T3" fmla="*/ 729941208 h 2536"/>
                <a:gd name="T4" fmla="*/ 794460491 w 792"/>
                <a:gd name="T5" fmla="*/ 729941208 h 2536"/>
                <a:gd name="T6" fmla="*/ 794460491 w 792"/>
                <a:gd name="T7" fmla="*/ 729941208 h 2536"/>
                <a:gd name="T8" fmla="*/ 794460491 w 792"/>
                <a:gd name="T9" fmla="*/ 729941208 h 2536"/>
                <a:gd name="T10" fmla="*/ 794460491 w 792"/>
                <a:gd name="T11" fmla="*/ 729941208 h 2536"/>
                <a:gd name="T12" fmla="*/ 794460491 w 792"/>
                <a:gd name="T13" fmla="*/ 729941208 h 2536"/>
                <a:gd name="T14" fmla="*/ 794460491 w 792"/>
                <a:gd name="T15" fmla="*/ 729941208 h 2536"/>
                <a:gd name="T16" fmla="*/ 794460491 w 792"/>
                <a:gd name="T17" fmla="*/ 729941208 h 2536"/>
                <a:gd name="T18" fmla="*/ 794460491 w 792"/>
                <a:gd name="T19" fmla="*/ 729941208 h 2536"/>
                <a:gd name="T20" fmla="*/ 794460491 w 792"/>
                <a:gd name="T21" fmla="*/ 729941208 h 2536"/>
                <a:gd name="T22" fmla="*/ 794460491 w 792"/>
                <a:gd name="T23" fmla="*/ 729941208 h 2536"/>
                <a:gd name="T24" fmla="*/ 794460491 w 792"/>
                <a:gd name="T25" fmla="*/ 729941208 h 2536"/>
                <a:gd name="T26" fmla="*/ 794460491 w 792"/>
                <a:gd name="T27" fmla="*/ 729941208 h 2536"/>
                <a:gd name="T28" fmla="*/ 0 w 792"/>
                <a:gd name="T29" fmla="*/ 729941208 h 2536"/>
                <a:gd name="T30" fmla="*/ 794460491 w 792"/>
                <a:gd name="T31" fmla="*/ 729941208 h 2536"/>
                <a:gd name="T32" fmla="*/ 794460491 w 792"/>
                <a:gd name="T33" fmla="*/ 729941208 h 2536"/>
                <a:gd name="T34" fmla="*/ 794460491 w 792"/>
                <a:gd name="T35" fmla="*/ 729941208 h 2536"/>
                <a:gd name="T36" fmla="*/ 794460491 w 792"/>
                <a:gd name="T37" fmla="*/ 729941208 h 2536"/>
                <a:gd name="T38" fmla="*/ 794460491 w 792"/>
                <a:gd name="T39" fmla="*/ 729941208 h 2536"/>
                <a:gd name="T40" fmla="*/ 794460491 w 792"/>
                <a:gd name="T41" fmla="*/ 729941208 h 2536"/>
                <a:gd name="T42" fmla="*/ 794460491 w 792"/>
                <a:gd name="T43" fmla="*/ 729941208 h 2536"/>
                <a:gd name="T44" fmla="*/ 794460491 w 792"/>
                <a:gd name="T45" fmla="*/ 729941208 h 2536"/>
                <a:gd name="T46" fmla="*/ 794460491 w 792"/>
                <a:gd name="T47" fmla="*/ 729941208 h 2536"/>
                <a:gd name="T48" fmla="*/ 794460491 w 792"/>
                <a:gd name="T49" fmla="*/ 729941208 h 2536"/>
                <a:gd name="T50" fmla="*/ 794460491 w 792"/>
                <a:gd name="T51" fmla="*/ 729941208 h 2536"/>
                <a:gd name="T52" fmla="*/ 794460491 w 792"/>
                <a:gd name="T53" fmla="*/ 729941208 h 2536"/>
                <a:gd name="T54" fmla="*/ 794460491 w 792"/>
                <a:gd name="T55" fmla="*/ 729941208 h 2536"/>
                <a:gd name="T56" fmla="*/ 794460491 w 792"/>
                <a:gd name="T57" fmla="*/ 729941208 h 2536"/>
                <a:gd name="T58" fmla="*/ 794460491 w 792"/>
                <a:gd name="T59" fmla="*/ 729941208 h 2536"/>
                <a:gd name="T60" fmla="*/ 794460491 w 792"/>
                <a:gd name="T61" fmla="*/ 729941208 h 2536"/>
                <a:gd name="T62" fmla="*/ 794460491 w 792"/>
                <a:gd name="T63" fmla="*/ 729941208 h 2536"/>
                <a:gd name="T64" fmla="*/ 794460491 w 792"/>
                <a:gd name="T65" fmla="*/ 729941208 h 2536"/>
                <a:gd name="T66" fmla="*/ 794460491 w 792"/>
                <a:gd name="T67" fmla="*/ 729941208 h 2536"/>
                <a:gd name="T68" fmla="*/ 794460491 w 792"/>
                <a:gd name="T69" fmla="*/ 729941208 h 2536"/>
                <a:gd name="T70" fmla="*/ 794460491 w 792"/>
                <a:gd name="T71" fmla="*/ 729941208 h 2536"/>
                <a:gd name="T72" fmla="*/ 794460491 w 792"/>
                <a:gd name="T73" fmla="*/ 729941208 h 2536"/>
                <a:gd name="T74" fmla="*/ 794460491 w 792"/>
                <a:gd name="T75" fmla="*/ 729941208 h 2536"/>
                <a:gd name="T76" fmla="*/ 794460491 w 792"/>
                <a:gd name="T77" fmla="*/ 729941208 h 2536"/>
                <a:gd name="T78" fmla="*/ 794460491 w 792"/>
                <a:gd name="T79" fmla="*/ 729941208 h 2536"/>
                <a:gd name="T80" fmla="*/ 794460491 w 792"/>
                <a:gd name="T81" fmla="*/ 729941208 h 2536"/>
                <a:gd name="T82" fmla="*/ 794460491 w 792"/>
                <a:gd name="T83" fmla="*/ 729941208 h 2536"/>
                <a:gd name="T84" fmla="*/ 794460491 w 792"/>
                <a:gd name="T85" fmla="*/ 729941208 h 2536"/>
                <a:gd name="T86" fmla="*/ 794460491 w 792"/>
                <a:gd name="T87" fmla="*/ 729941208 h 2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792"/>
                <a:gd name="T133" fmla="*/ 0 h 2536"/>
                <a:gd name="T134" fmla="*/ 792 w 792"/>
                <a:gd name="T135" fmla="*/ 2536 h 2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792" h="2536">
                  <a:moveTo>
                    <a:pt x="752" y="900"/>
                  </a:moveTo>
                  <a:cubicBezTo>
                    <a:pt x="752" y="888"/>
                    <a:pt x="744" y="880"/>
                    <a:pt x="740" y="872"/>
                  </a:cubicBezTo>
                  <a:cubicBezTo>
                    <a:pt x="720" y="760"/>
                    <a:pt x="736" y="656"/>
                    <a:pt x="724" y="548"/>
                  </a:cubicBezTo>
                  <a:cubicBezTo>
                    <a:pt x="724" y="524"/>
                    <a:pt x="724" y="500"/>
                    <a:pt x="716" y="480"/>
                  </a:cubicBezTo>
                  <a:cubicBezTo>
                    <a:pt x="712" y="472"/>
                    <a:pt x="704" y="464"/>
                    <a:pt x="696" y="456"/>
                  </a:cubicBezTo>
                  <a:cubicBezTo>
                    <a:pt x="688" y="452"/>
                    <a:pt x="668" y="452"/>
                    <a:pt x="672" y="444"/>
                  </a:cubicBezTo>
                  <a:cubicBezTo>
                    <a:pt x="688" y="332"/>
                    <a:pt x="664" y="224"/>
                    <a:pt x="656" y="116"/>
                  </a:cubicBezTo>
                  <a:cubicBezTo>
                    <a:pt x="652" y="56"/>
                    <a:pt x="600" y="0"/>
                    <a:pt x="532" y="8"/>
                  </a:cubicBezTo>
                  <a:cubicBezTo>
                    <a:pt x="512" y="12"/>
                    <a:pt x="492" y="16"/>
                    <a:pt x="472" y="32"/>
                  </a:cubicBezTo>
                  <a:cubicBezTo>
                    <a:pt x="440" y="60"/>
                    <a:pt x="416" y="88"/>
                    <a:pt x="400" y="124"/>
                  </a:cubicBezTo>
                  <a:cubicBezTo>
                    <a:pt x="392" y="148"/>
                    <a:pt x="380" y="164"/>
                    <a:pt x="372" y="188"/>
                  </a:cubicBezTo>
                  <a:cubicBezTo>
                    <a:pt x="364" y="212"/>
                    <a:pt x="364" y="232"/>
                    <a:pt x="360" y="256"/>
                  </a:cubicBezTo>
                  <a:cubicBezTo>
                    <a:pt x="356" y="272"/>
                    <a:pt x="364" y="284"/>
                    <a:pt x="364" y="296"/>
                  </a:cubicBezTo>
                  <a:cubicBezTo>
                    <a:pt x="364" y="352"/>
                    <a:pt x="308" y="388"/>
                    <a:pt x="264" y="416"/>
                  </a:cubicBezTo>
                  <a:cubicBezTo>
                    <a:pt x="240" y="432"/>
                    <a:pt x="204" y="428"/>
                    <a:pt x="184" y="452"/>
                  </a:cubicBezTo>
                  <a:cubicBezTo>
                    <a:pt x="144" y="496"/>
                    <a:pt x="160" y="556"/>
                    <a:pt x="144" y="608"/>
                  </a:cubicBezTo>
                  <a:cubicBezTo>
                    <a:pt x="144" y="612"/>
                    <a:pt x="156" y="616"/>
                    <a:pt x="152" y="628"/>
                  </a:cubicBezTo>
                  <a:cubicBezTo>
                    <a:pt x="148" y="696"/>
                    <a:pt x="156" y="764"/>
                    <a:pt x="140" y="832"/>
                  </a:cubicBezTo>
                  <a:cubicBezTo>
                    <a:pt x="128" y="876"/>
                    <a:pt x="120" y="916"/>
                    <a:pt x="116" y="960"/>
                  </a:cubicBezTo>
                  <a:cubicBezTo>
                    <a:pt x="112" y="1024"/>
                    <a:pt x="116" y="1088"/>
                    <a:pt x="116" y="1152"/>
                  </a:cubicBezTo>
                  <a:cubicBezTo>
                    <a:pt x="116" y="1212"/>
                    <a:pt x="108" y="1272"/>
                    <a:pt x="96" y="1336"/>
                  </a:cubicBezTo>
                  <a:cubicBezTo>
                    <a:pt x="92" y="1360"/>
                    <a:pt x="104" y="1384"/>
                    <a:pt x="120" y="1404"/>
                  </a:cubicBezTo>
                  <a:cubicBezTo>
                    <a:pt x="136" y="1424"/>
                    <a:pt x="164" y="1432"/>
                    <a:pt x="188" y="1436"/>
                  </a:cubicBezTo>
                  <a:cubicBezTo>
                    <a:pt x="192" y="1436"/>
                    <a:pt x="196" y="1440"/>
                    <a:pt x="196" y="1444"/>
                  </a:cubicBezTo>
                  <a:cubicBezTo>
                    <a:pt x="192" y="1540"/>
                    <a:pt x="192" y="1636"/>
                    <a:pt x="180" y="1736"/>
                  </a:cubicBezTo>
                  <a:cubicBezTo>
                    <a:pt x="180" y="1744"/>
                    <a:pt x="188" y="1748"/>
                    <a:pt x="188" y="1752"/>
                  </a:cubicBezTo>
                  <a:cubicBezTo>
                    <a:pt x="188" y="1820"/>
                    <a:pt x="152" y="1884"/>
                    <a:pt x="148" y="1956"/>
                  </a:cubicBezTo>
                  <a:cubicBezTo>
                    <a:pt x="144" y="2056"/>
                    <a:pt x="156" y="2152"/>
                    <a:pt x="148" y="2252"/>
                  </a:cubicBezTo>
                  <a:cubicBezTo>
                    <a:pt x="148" y="2316"/>
                    <a:pt x="120" y="2376"/>
                    <a:pt x="88" y="2432"/>
                  </a:cubicBezTo>
                  <a:cubicBezTo>
                    <a:pt x="64" y="2468"/>
                    <a:pt x="24" y="2484"/>
                    <a:pt x="0" y="2516"/>
                  </a:cubicBezTo>
                  <a:cubicBezTo>
                    <a:pt x="52" y="2512"/>
                    <a:pt x="104" y="2516"/>
                    <a:pt x="152" y="2492"/>
                  </a:cubicBezTo>
                  <a:cubicBezTo>
                    <a:pt x="148" y="2460"/>
                    <a:pt x="180" y="2424"/>
                    <a:pt x="208" y="2424"/>
                  </a:cubicBezTo>
                  <a:cubicBezTo>
                    <a:pt x="224" y="2428"/>
                    <a:pt x="204" y="2460"/>
                    <a:pt x="220" y="2476"/>
                  </a:cubicBezTo>
                  <a:cubicBezTo>
                    <a:pt x="220" y="2448"/>
                    <a:pt x="224" y="2420"/>
                    <a:pt x="244" y="2396"/>
                  </a:cubicBezTo>
                  <a:cubicBezTo>
                    <a:pt x="268" y="2372"/>
                    <a:pt x="248" y="2336"/>
                    <a:pt x="224" y="2312"/>
                  </a:cubicBezTo>
                  <a:cubicBezTo>
                    <a:pt x="224" y="2308"/>
                    <a:pt x="221" y="2300"/>
                    <a:pt x="220" y="2292"/>
                  </a:cubicBezTo>
                  <a:cubicBezTo>
                    <a:pt x="216" y="2244"/>
                    <a:pt x="224" y="2196"/>
                    <a:pt x="236" y="2144"/>
                  </a:cubicBezTo>
                  <a:cubicBezTo>
                    <a:pt x="244" y="2084"/>
                    <a:pt x="264" y="2032"/>
                    <a:pt x="280" y="1972"/>
                  </a:cubicBezTo>
                  <a:cubicBezTo>
                    <a:pt x="296" y="1916"/>
                    <a:pt x="284" y="1856"/>
                    <a:pt x="304" y="1800"/>
                  </a:cubicBezTo>
                  <a:cubicBezTo>
                    <a:pt x="308" y="1784"/>
                    <a:pt x="312" y="1760"/>
                    <a:pt x="328" y="1752"/>
                  </a:cubicBezTo>
                  <a:cubicBezTo>
                    <a:pt x="352" y="1740"/>
                    <a:pt x="380" y="1740"/>
                    <a:pt x="404" y="1744"/>
                  </a:cubicBezTo>
                  <a:cubicBezTo>
                    <a:pt x="432" y="1744"/>
                    <a:pt x="460" y="1748"/>
                    <a:pt x="488" y="1752"/>
                  </a:cubicBezTo>
                  <a:cubicBezTo>
                    <a:pt x="500" y="1756"/>
                    <a:pt x="504" y="1768"/>
                    <a:pt x="508" y="1780"/>
                  </a:cubicBezTo>
                  <a:cubicBezTo>
                    <a:pt x="512" y="1840"/>
                    <a:pt x="496" y="1896"/>
                    <a:pt x="488" y="1956"/>
                  </a:cubicBezTo>
                  <a:cubicBezTo>
                    <a:pt x="484" y="2024"/>
                    <a:pt x="496" y="2092"/>
                    <a:pt x="480" y="2164"/>
                  </a:cubicBezTo>
                  <a:cubicBezTo>
                    <a:pt x="476" y="2192"/>
                    <a:pt x="476" y="2220"/>
                    <a:pt x="468" y="2248"/>
                  </a:cubicBezTo>
                  <a:cubicBezTo>
                    <a:pt x="460" y="2272"/>
                    <a:pt x="448" y="2292"/>
                    <a:pt x="444" y="2320"/>
                  </a:cubicBezTo>
                  <a:cubicBezTo>
                    <a:pt x="440" y="2328"/>
                    <a:pt x="428" y="2328"/>
                    <a:pt x="428" y="2340"/>
                  </a:cubicBezTo>
                  <a:cubicBezTo>
                    <a:pt x="424" y="2352"/>
                    <a:pt x="420" y="2364"/>
                    <a:pt x="420" y="2376"/>
                  </a:cubicBezTo>
                  <a:cubicBezTo>
                    <a:pt x="424" y="2392"/>
                    <a:pt x="440" y="2404"/>
                    <a:pt x="444" y="2416"/>
                  </a:cubicBezTo>
                  <a:cubicBezTo>
                    <a:pt x="452" y="2432"/>
                    <a:pt x="452" y="2452"/>
                    <a:pt x="448" y="2468"/>
                  </a:cubicBezTo>
                  <a:cubicBezTo>
                    <a:pt x="444" y="2476"/>
                    <a:pt x="436" y="2488"/>
                    <a:pt x="444" y="2496"/>
                  </a:cubicBezTo>
                  <a:cubicBezTo>
                    <a:pt x="480" y="2524"/>
                    <a:pt x="564" y="2536"/>
                    <a:pt x="552" y="2472"/>
                  </a:cubicBezTo>
                  <a:cubicBezTo>
                    <a:pt x="540" y="2432"/>
                    <a:pt x="512" y="2392"/>
                    <a:pt x="516" y="2348"/>
                  </a:cubicBezTo>
                  <a:cubicBezTo>
                    <a:pt x="516" y="2312"/>
                    <a:pt x="520" y="2276"/>
                    <a:pt x="532" y="2240"/>
                  </a:cubicBezTo>
                  <a:cubicBezTo>
                    <a:pt x="596" y="2088"/>
                    <a:pt x="640" y="1932"/>
                    <a:pt x="624" y="1768"/>
                  </a:cubicBezTo>
                  <a:cubicBezTo>
                    <a:pt x="652" y="1744"/>
                    <a:pt x="696" y="1748"/>
                    <a:pt x="732" y="1748"/>
                  </a:cubicBezTo>
                  <a:cubicBezTo>
                    <a:pt x="736" y="1640"/>
                    <a:pt x="708" y="1536"/>
                    <a:pt x="724" y="1428"/>
                  </a:cubicBezTo>
                  <a:cubicBezTo>
                    <a:pt x="728" y="1408"/>
                    <a:pt x="756" y="1416"/>
                    <a:pt x="768" y="1404"/>
                  </a:cubicBezTo>
                  <a:cubicBezTo>
                    <a:pt x="784" y="1392"/>
                    <a:pt x="792" y="1368"/>
                    <a:pt x="792" y="1356"/>
                  </a:cubicBezTo>
                  <a:cubicBezTo>
                    <a:pt x="740" y="1204"/>
                    <a:pt x="784" y="1060"/>
                    <a:pt x="752" y="900"/>
                  </a:cubicBezTo>
                  <a:close/>
                  <a:moveTo>
                    <a:pt x="208" y="1272"/>
                  </a:moveTo>
                  <a:cubicBezTo>
                    <a:pt x="200" y="1316"/>
                    <a:pt x="200" y="1364"/>
                    <a:pt x="200" y="1408"/>
                  </a:cubicBezTo>
                  <a:cubicBezTo>
                    <a:pt x="200" y="1416"/>
                    <a:pt x="204" y="1432"/>
                    <a:pt x="192" y="1428"/>
                  </a:cubicBezTo>
                  <a:cubicBezTo>
                    <a:pt x="176" y="1428"/>
                    <a:pt x="172" y="1420"/>
                    <a:pt x="160" y="1408"/>
                  </a:cubicBezTo>
                  <a:cubicBezTo>
                    <a:pt x="160" y="1404"/>
                    <a:pt x="160" y="1400"/>
                    <a:pt x="160" y="1396"/>
                  </a:cubicBezTo>
                  <a:cubicBezTo>
                    <a:pt x="148" y="1400"/>
                    <a:pt x="140" y="1388"/>
                    <a:pt x="136" y="1376"/>
                  </a:cubicBezTo>
                  <a:cubicBezTo>
                    <a:pt x="128" y="1356"/>
                    <a:pt x="132" y="1324"/>
                    <a:pt x="148" y="1324"/>
                  </a:cubicBezTo>
                  <a:cubicBezTo>
                    <a:pt x="172" y="1320"/>
                    <a:pt x="164" y="1364"/>
                    <a:pt x="172" y="1384"/>
                  </a:cubicBezTo>
                  <a:cubicBezTo>
                    <a:pt x="176" y="1388"/>
                    <a:pt x="180" y="1388"/>
                    <a:pt x="184" y="1388"/>
                  </a:cubicBezTo>
                  <a:cubicBezTo>
                    <a:pt x="180" y="1352"/>
                    <a:pt x="184" y="1312"/>
                    <a:pt x="176" y="1276"/>
                  </a:cubicBezTo>
                  <a:cubicBezTo>
                    <a:pt x="172" y="1252"/>
                    <a:pt x="152" y="1236"/>
                    <a:pt x="156" y="1208"/>
                  </a:cubicBezTo>
                  <a:cubicBezTo>
                    <a:pt x="180" y="1060"/>
                    <a:pt x="224" y="928"/>
                    <a:pt x="232" y="780"/>
                  </a:cubicBezTo>
                  <a:cubicBezTo>
                    <a:pt x="232" y="756"/>
                    <a:pt x="224" y="724"/>
                    <a:pt x="248" y="712"/>
                  </a:cubicBezTo>
                  <a:cubicBezTo>
                    <a:pt x="264" y="704"/>
                    <a:pt x="257" y="732"/>
                    <a:pt x="260" y="744"/>
                  </a:cubicBezTo>
                  <a:cubicBezTo>
                    <a:pt x="304" y="928"/>
                    <a:pt x="224" y="1092"/>
                    <a:pt x="208" y="1272"/>
                  </a:cubicBezTo>
                  <a:close/>
                  <a:moveTo>
                    <a:pt x="656" y="876"/>
                  </a:moveTo>
                  <a:cubicBezTo>
                    <a:pt x="656" y="888"/>
                    <a:pt x="641" y="882"/>
                    <a:pt x="632" y="876"/>
                  </a:cubicBezTo>
                  <a:cubicBezTo>
                    <a:pt x="620" y="868"/>
                    <a:pt x="620" y="852"/>
                    <a:pt x="624" y="844"/>
                  </a:cubicBezTo>
                  <a:cubicBezTo>
                    <a:pt x="632" y="824"/>
                    <a:pt x="624" y="800"/>
                    <a:pt x="616" y="780"/>
                  </a:cubicBezTo>
                  <a:cubicBezTo>
                    <a:pt x="608" y="764"/>
                    <a:pt x="608" y="744"/>
                    <a:pt x="624" y="728"/>
                  </a:cubicBezTo>
                  <a:cubicBezTo>
                    <a:pt x="628" y="728"/>
                    <a:pt x="632" y="728"/>
                    <a:pt x="636" y="728"/>
                  </a:cubicBezTo>
                  <a:cubicBezTo>
                    <a:pt x="664" y="776"/>
                    <a:pt x="660" y="828"/>
                    <a:pt x="656" y="876"/>
                  </a:cubicBezTo>
                  <a:close/>
                  <a:moveTo>
                    <a:pt x="728" y="1400"/>
                  </a:moveTo>
                  <a:cubicBezTo>
                    <a:pt x="724" y="1400"/>
                    <a:pt x="716" y="1392"/>
                    <a:pt x="720" y="1384"/>
                  </a:cubicBezTo>
                  <a:cubicBezTo>
                    <a:pt x="728" y="1364"/>
                    <a:pt x="716" y="1332"/>
                    <a:pt x="748" y="1332"/>
                  </a:cubicBezTo>
                  <a:cubicBezTo>
                    <a:pt x="752" y="1332"/>
                    <a:pt x="752" y="1341"/>
                    <a:pt x="756" y="1348"/>
                  </a:cubicBezTo>
                  <a:cubicBezTo>
                    <a:pt x="768" y="1372"/>
                    <a:pt x="756" y="1400"/>
                    <a:pt x="728" y="1400"/>
                  </a:cubicBezTo>
                  <a:close/>
                </a:path>
              </a:pathLst>
            </a:custGeom>
            <a:solidFill>
              <a:schemeClr val="tx1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  <p:txBody>
            <a:bodyPr lIns="428085" tIns="214043" rIns="428085" bIns="214043"/>
            <a:lstStyle/>
            <a:p>
              <a:pPr defTabSz="4280752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6000" kern="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03" name="AutoShape 22">
              <a:extLst>
                <a:ext uri="{FF2B5EF4-FFF2-40B4-BE49-F238E27FC236}">
                  <a16:creationId xmlns:a16="http://schemas.microsoft.com/office/drawing/2014/main" id="{ABEF1534-B8E9-4EFC-A940-86A8E15A816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315794" y="744535"/>
              <a:ext cx="139765" cy="340222"/>
            </a:xfrm>
            <a:custGeom>
              <a:avLst/>
              <a:gdLst>
                <a:gd name="T0" fmla="*/ 808464432 w 680"/>
                <a:gd name="T1" fmla="*/ 813928491 h 2335"/>
                <a:gd name="T2" fmla="*/ 808464432 w 680"/>
                <a:gd name="T3" fmla="*/ 813928491 h 2335"/>
                <a:gd name="T4" fmla="*/ 808464432 w 680"/>
                <a:gd name="T5" fmla="*/ 813928491 h 2335"/>
                <a:gd name="T6" fmla="*/ 808464432 w 680"/>
                <a:gd name="T7" fmla="*/ 813928491 h 2335"/>
                <a:gd name="T8" fmla="*/ 808464432 w 680"/>
                <a:gd name="T9" fmla="*/ 813928491 h 2335"/>
                <a:gd name="T10" fmla="*/ 808464432 w 680"/>
                <a:gd name="T11" fmla="*/ 813928491 h 2335"/>
                <a:gd name="T12" fmla="*/ 808464432 w 680"/>
                <a:gd name="T13" fmla="*/ 813928491 h 2335"/>
                <a:gd name="T14" fmla="*/ 808464432 w 680"/>
                <a:gd name="T15" fmla="*/ 813928491 h 2335"/>
                <a:gd name="T16" fmla="*/ 808464432 w 680"/>
                <a:gd name="T17" fmla="*/ 813928491 h 2335"/>
                <a:gd name="T18" fmla="*/ 808464432 w 680"/>
                <a:gd name="T19" fmla="*/ 813928491 h 2335"/>
                <a:gd name="T20" fmla="*/ 808464432 w 680"/>
                <a:gd name="T21" fmla="*/ 813928491 h 2335"/>
                <a:gd name="T22" fmla="*/ 808464432 w 680"/>
                <a:gd name="T23" fmla="*/ 813928491 h 2335"/>
                <a:gd name="T24" fmla="*/ 808464432 w 680"/>
                <a:gd name="T25" fmla="*/ 813928491 h 2335"/>
                <a:gd name="T26" fmla="*/ 808464432 w 680"/>
                <a:gd name="T27" fmla="*/ 813928491 h 2335"/>
                <a:gd name="T28" fmla="*/ 808464432 w 680"/>
                <a:gd name="T29" fmla="*/ 813928491 h 2335"/>
                <a:gd name="T30" fmla="*/ 808464432 w 680"/>
                <a:gd name="T31" fmla="*/ 813928491 h 2335"/>
                <a:gd name="T32" fmla="*/ 808464432 w 680"/>
                <a:gd name="T33" fmla="*/ 813928491 h 2335"/>
                <a:gd name="T34" fmla="*/ 808464432 w 680"/>
                <a:gd name="T35" fmla="*/ 813928491 h 2335"/>
                <a:gd name="T36" fmla="*/ 808464432 w 680"/>
                <a:gd name="T37" fmla="*/ 813928491 h 2335"/>
                <a:gd name="T38" fmla="*/ 808464432 w 680"/>
                <a:gd name="T39" fmla="*/ 813928491 h 2335"/>
                <a:gd name="T40" fmla="*/ 808464432 w 680"/>
                <a:gd name="T41" fmla="*/ 813928491 h 2335"/>
                <a:gd name="T42" fmla="*/ 808464432 w 680"/>
                <a:gd name="T43" fmla="*/ 813928491 h 2335"/>
                <a:gd name="T44" fmla="*/ 808464432 w 680"/>
                <a:gd name="T45" fmla="*/ 813928491 h 2335"/>
                <a:gd name="T46" fmla="*/ 808464432 w 680"/>
                <a:gd name="T47" fmla="*/ 813928491 h 2335"/>
                <a:gd name="T48" fmla="*/ 808464432 w 680"/>
                <a:gd name="T49" fmla="*/ 813928491 h 2335"/>
                <a:gd name="T50" fmla="*/ 808464432 w 680"/>
                <a:gd name="T51" fmla="*/ 813928491 h 2335"/>
                <a:gd name="T52" fmla="*/ 808464432 w 680"/>
                <a:gd name="T53" fmla="*/ 813928491 h 2335"/>
                <a:gd name="T54" fmla="*/ 808464432 w 680"/>
                <a:gd name="T55" fmla="*/ 813928491 h 2335"/>
                <a:gd name="T56" fmla="*/ 808464432 w 680"/>
                <a:gd name="T57" fmla="*/ 813928491 h 2335"/>
                <a:gd name="T58" fmla="*/ 808464432 w 680"/>
                <a:gd name="T59" fmla="*/ 813928491 h 2335"/>
                <a:gd name="T60" fmla="*/ 808464432 w 680"/>
                <a:gd name="T61" fmla="*/ 813928491 h 2335"/>
                <a:gd name="T62" fmla="*/ 808464432 w 680"/>
                <a:gd name="T63" fmla="*/ 813928491 h 2335"/>
                <a:gd name="T64" fmla="*/ 808464432 w 680"/>
                <a:gd name="T65" fmla="*/ 813928491 h 2335"/>
                <a:gd name="T66" fmla="*/ 808464432 w 680"/>
                <a:gd name="T67" fmla="*/ 813928491 h 2335"/>
                <a:gd name="T68" fmla="*/ 808464432 w 680"/>
                <a:gd name="T69" fmla="*/ 813928491 h 2335"/>
                <a:gd name="T70" fmla="*/ 808464432 w 680"/>
                <a:gd name="T71" fmla="*/ 813928491 h 2335"/>
                <a:gd name="T72" fmla="*/ 808464432 w 680"/>
                <a:gd name="T73" fmla="*/ 813928491 h 2335"/>
                <a:gd name="T74" fmla="*/ 808464432 w 680"/>
                <a:gd name="T75" fmla="*/ 813928491 h 2335"/>
                <a:gd name="T76" fmla="*/ 808464432 w 680"/>
                <a:gd name="T77" fmla="*/ 813928491 h 2335"/>
                <a:gd name="T78" fmla="*/ 808464432 w 680"/>
                <a:gd name="T79" fmla="*/ 813928491 h 2335"/>
                <a:gd name="T80" fmla="*/ 808464432 w 680"/>
                <a:gd name="T81" fmla="*/ 813928491 h 2335"/>
                <a:gd name="T82" fmla="*/ 808464432 w 680"/>
                <a:gd name="T83" fmla="*/ 813928491 h 2335"/>
                <a:gd name="T84" fmla="*/ 808464432 w 680"/>
                <a:gd name="T85" fmla="*/ 813928491 h 2335"/>
                <a:gd name="T86" fmla="*/ 808464432 w 680"/>
                <a:gd name="T87" fmla="*/ 813928491 h 2335"/>
                <a:gd name="T88" fmla="*/ 808464432 w 680"/>
                <a:gd name="T89" fmla="*/ 813928491 h 2335"/>
                <a:gd name="T90" fmla="*/ 808464432 w 680"/>
                <a:gd name="T91" fmla="*/ 813928491 h 2335"/>
                <a:gd name="T92" fmla="*/ 808464432 w 680"/>
                <a:gd name="T93" fmla="*/ 813928491 h 2335"/>
                <a:gd name="T94" fmla="*/ 808464432 w 680"/>
                <a:gd name="T95" fmla="*/ 813928491 h 2335"/>
                <a:gd name="T96" fmla="*/ 808464432 w 680"/>
                <a:gd name="T97" fmla="*/ 813928491 h 2335"/>
                <a:gd name="T98" fmla="*/ 808464432 w 680"/>
                <a:gd name="T99" fmla="*/ 813928491 h 2335"/>
                <a:gd name="T100" fmla="*/ 808464432 w 680"/>
                <a:gd name="T101" fmla="*/ 813928491 h 2335"/>
                <a:gd name="T102" fmla="*/ 808464432 w 680"/>
                <a:gd name="T103" fmla="*/ 813928491 h 2335"/>
                <a:gd name="T104" fmla="*/ 808464432 w 680"/>
                <a:gd name="T105" fmla="*/ 813928491 h 2335"/>
                <a:gd name="T106" fmla="*/ 808464432 w 680"/>
                <a:gd name="T107" fmla="*/ 813928491 h 2335"/>
                <a:gd name="T108" fmla="*/ 808464432 w 680"/>
                <a:gd name="T109" fmla="*/ 813928491 h 2335"/>
                <a:gd name="T110" fmla="*/ 808464432 w 680"/>
                <a:gd name="T111" fmla="*/ 813928491 h 2335"/>
                <a:gd name="T112" fmla="*/ 808464432 w 680"/>
                <a:gd name="T113" fmla="*/ 813928491 h 2335"/>
                <a:gd name="T114" fmla="*/ 808464432 w 680"/>
                <a:gd name="T115" fmla="*/ 813928491 h 2335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80"/>
                <a:gd name="T175" fmla="*/ 0 h 2335"/>
                <a:gd name="T176" fmla="*/ 680 w 680"/>
                <a:gd name="T177" fmla="*/ 2335 h 2335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80" h="2335">
                  <a:moveTo>
                    <a:pt x="676" y="998"/>
                  </a:moveTo>
                  <a:cubicBezTo>
                    <a:pt x="670" y="976"/>
                    <a:pt x="677" y="952"/>
                    <a:pt x="674" y="929"/>
                  </a:cubicBezTo>
                  <a:cubicBezTo>
                    <a:pt x="673" y="919"/>
                    <a:pt x="670" y="909"/>
                    <a:pt x="668" y="898"/>
                  </a:cubicBezTo>
                  <a:cubicBezTo>
                    <a:pt x="666" y="885"/>
                    <a:pt x="667" y="872"/>
                    <a:pt x="667" y="859"/>
                  </a:cubicBezTo>
                  <a:cubicBezTo>
                    <a:pt x="666" y="834"/>
                    <a:pt x="662" y="810"/>
                    <a:pt x="662" y="785"/>
                  </a:cubicBezTo>
                  <a:cubicBezTo>
                    <a:pt x="663" y="759"/>
                    <a:pt x="664" y="732"/>
                    <a:pt x="662" y="706"/>
                  </a:cubicBezTo>
                  <a:cubicBezTo>
                    <a:pt x="657" y="647"/>
                    <a:pt x="645" y="590"/>
                    <a:pt x="632" y="533"/>
                  </a:cubicBezTo>
                  <a:cubicBezTo>
                    <a:pt x="628" y="513"/>
                    <a:pt x="623" y="492"/>
                    <a:pt x="618" y="472"/>
                  </a:cubicBezTo>
                  <a:cubicBezTo>
                    <a:pt x="613" y="453"/>
                    <a:pt x="607" y="436"/>
                    <a:pt x="592" y="423"/>
                  </a:cubicBezTo>
                  <a:cubicBezTo>
                    <a:pt x="572" y="405"/>
                    <a:pt x="547" y="403"/>
                    <a:pt x="524" y="392"/>
                  </a:cubicBezTo>
                  <a:cubicBezTo>
                    <a:pt x="506" y="384"/>
                    <a:pt x="489" y="373"/>
                    <a:pt x="471" y="364"/>
                  </a:cubicBezTo>
                  <a:cubicBezTo>
                    <a:pt x="463" y="361"/>
                    <a:pt x="455" y="357"/>
                    <a:pt x="449" y="351"/>
                  </a:cubicBezTo>
                  <a:cubicBezTo>
                    <a:pt x="443" y="344"/>
                    <a:pt x="438" y="342"/>
                    <a:pt x="430" y="339"/>
                  </a:cubicBezTo>
                  <a:cubicBezTo>
                    <a:pt x="420" y="336"/>
                    <a:pt x="415" y="332"/>
                    <a:pt x="415" y="323"/>
                  </a:cubicBezTo>
                  <a:cubicBezTo>
                    <a:pt x="415" y="314"/>
                    <a:pt x="415" y="304"/>
                    <a:pt x="414" y="294"/>
                  </a:cubicBezTo>
                  <a:cubicBezTo>
                    <a:pt x="413" y="285"/>
                    <a:pt x="412" y="279"/>
                    <a:pt x="419" y="272"/>
                  </a:cubicBezTo>
                  <a:cubicBezTo>
                    <a:pt x="426" y="263"/>
                    <a:pt x="428" y="252"/>
                    <a:pt x="429" y="241"/>
                  </a:cubicBezTo>
                  <a:cubicBezTo>
                    <a:pt x="430" y="234"/>
                    <a:pt x="431" y="227"/>
                    <a:pt x="431" y="220"/>
                  </a:cubicBezTo>
                  <a:cubicBezTo>
                    <a:pt x="431" y="214"/>
                    <a:pt x="431" y="215"/>
                    <a:pt x="436" y="216"/>
                  </a:cubicBezTo>
                  <a:cubicBezTo>
                    <a:pt x="450" y="219"/>
                    <a:pt x="451" y="211"/>
                    <a:pt x="456" y="200"/>
                  </a:cubicBezTo>
                  <a:cubicBezTo>
                    <a:pt x="461" y="190"/>
                    <a:pt x="474" y="134"/>
                    <a:pt x="449" y="140"/>
                  </a:cubicBezTo>
                  <a:cubicBezTo>
                    <a:pt x="446" y="141"/>
                    <a:pt x="449" y="130"/>
                    <a:pt x="449" y="128"/>
                  </a:cubicBezTo>
                  <a:cubicBezTo>
                    <a:pt x="450" y="121"/>
                    <a:pt x="453" y="114"/>
                    <a:pt x="451" y="106"/>
                  </a:cubicBezTo>
                  <a:cubicBezTo>
                    <a:pt x="448" y="95"/>
                    <a:pt x="452" y="86"/>
                    <a:pt x="450" y="76"/>
                  </a:cubicBezTo>
                  <a:cubicBezTo>
                    <a:pt x="449" y="66"/>
                    <a:pt x="442" y="57"/>
                    <a:pt x="438" y="48"/>
                  </a:cubicBezTo>
                  <a:cubicBezTo>
                    <a:pt x="435" y="43"/>
                    <a:pt x="435" y="38"/>
                    <a:pt x="429" y="35"/>
                  </a:cubicBezTo>
                  <a:cubicBezTo>
                    <a:pt x="423" y="32"/>
                    <a:pt x="421" y="28"/>
                    <a:pt x="416" y="24"/>
                  </a:cubicBezTo>
                  <a:cubicBezTo>
                    <a:pt x="408" y="17"/>
                    <a:pt x="397" y="5"/>
                    <a:pt x="386" y="7"/>
                  </a:cubicBezTo>
                  <a:cubicBezTo>
                    <a:pt x="381" y="9"/>
                    <a:pt x="376" y="5"/>
                    <a:pt x="371" y="3"/>
                  </a:cubicBezTo>
                  <a:cubicBezTo>
                    <a:pt x="369" y="3"/>
                    <a:pt x="366" y="3"/>
                    <a:pt x="364" y="3"/>
                  </a:cubicBezTo>
                  <a:cubicBezTo>
                    <a:pt x="360" y="3"/>
                    <a:pt x="356" y="0"/>
                    <a:pt x="352" y="0"/>
                  </a:cubicBezTo>
                  <a:cubicBezTo>
                    <a:pt x="346" y="0"/>
                    <a:pt x="338" y="1"/>
                    <a:pt x="332" y="1"/>
                  </a:cubicBezTo>
                  <a:cubicBezTo>
                    <a:pt x="330" y="2"/>
                    <a:pt x="328" y="4"/>
                    <a:pt x="325" y="4"/>
                  </a:cubicBezTo>
                  <a:cubicBezTo>
                    <a:pt x="322" y="5"/>
                    <a:pt x="320" y="3"/>
                    <a:pt x="316" y="3"/>
                  </a:cubicBezTo>
                  <a:cubicBezTo>
                    <a:pt x="311" y="3"/>
                    <a:pt x="307" y="9"/>
                    <a:pt x="301" y="10"/>
                  </a:cubicBezTo>
                  <a:cubicBezTo>
                    <a:pt x="299" y="11"/>
                    <a:pt x="297" y="13"/>
                    <a:pt x="295" y="14"/>
                  </a:cubicBezTo>
                  <a:cubicBezTo>
                    <a:pt x="292" y="15"/>
                    <a:pt x="288" y="16"/>
                    <a:pt x="285" y="17"/>
                  </a:cubicBezTo>
                  <a:cubicBezTo>
                    <a:pt x="280" y="20"/>
                    <a:pt x="276" y="22"/>
                    <a:pt x="272" y="25"/>
                  </a:cubicBezTo>
                  <a:cubicBezTo>
                    <a:pt x="269" y="27"/>
                    <a:pt x="268" y="30"/>
                    <a:pt x="266" y="32"/>
                  </a:cubicBezTo>
                  <a:cubicBezTo>
                    <a:pt x="262" y="35"/>
                    <a:pt x="257" y="39"/>
                    <a:pt x="254" y="44"/>
                  </a:cubicBezTo>
                  <a:cubicBezTo>
                    <a:pt x="253" y="47"/>
                    <a:pt x="253" y="50"/>
                    <a:pt x="251" y="53"/>
                  </a:cubicBezTo>
                  <a:cubicBezTo>
                    <a:pt x="250" y="56"/>
                    <a:pt x="247" y="57"/>
                    <a:pt x="245" y="61"/>
                  </a:cubicBezTo>
                  <a:cubicBezTo>
                    <a:pt x="242" y="69"/>
                    <a:pt x="237" y="87"/>
                    <a:pt x="241" y="95"/>
                  </a:cubicBezTo>
                  <a:cubicBezTo>
                    <a:pt x="245" y="104"/>
                    <a:pt x="240" y="115"/>
                    <a:pt x="244" y="124"/>
                  </a:cubicBezTo>
                  <a:cubicBezTo>
                    <a:pt x="245" y="129"/>
                    <a:pt x="239" y="126"/>
                    <a:pt x="236" y="127"/>
                  </a:cubicBezTo>
                  <a:cubicBezTo>
                    <a:pt x="231" y="130"/>
                    <a:pt x="231" y="138"/>
                    <a:pt x="230" y="142"/>
                  </a:cubicBezTo>
                  <a:cubicBezTo>
                    <a:pt x="228" y="155"/>
                    <a:pt x="226" y="170"/>
                    <a:pt x="229" y="183"/>
                  </a:cubicBezTo>
                  <a:cubicBezTo>
                    <a:pt x="233" y="194"/>
                    <a:pt x="238" y="203"/>
                    <a:pt x="250" y="204"/>
                  </a:cubicBezTo>
                  <a:cubicBezTo>
                    <a:pt x="254" y="204"/>
                    <a:pt x="256" y="203"/>
                    <a:pt x="257" y="207"/>
                  </a:cubicBezTo>
                  <a:cubicBezTo>
                    <a:pt x="258" y="212"/>
                    <a:pt x="257" y="219"/>
                    <a:pt x="257" y="224"/>
                  </a:cubicBezTo>
                  <a:cubicBezTo>
                    <a:pt x="257" y="235"/>
                    <a:pt x="258" y="245"/>
                    <a:pt x="263" y="254"/>
                  </a:cubicBezTo>
                  <a:cubicBezTo>
                    <a:pt x="266" y="259"/>
                    <a:pt x="269" y="263"/>
                    <a:pt x="269" y="269"/>
                  </a:cubicBezTo>
                  <a:cubicBezTo>
                    <a:pt x="268" y="274"/>
                    <a:pt x="268" y="278"/>
                    <a:pt x="268" y="283"/>
                  </a:cubicBezTo>
                  <a:cubicBezTo>
                    <a:pt x="268" y="293"/>
                    <a:pt x="268" y="304"/>
                    <a:pt x="268" y="314"/>
                  </a:cubicBezTo>
                  <a:cubicBezTo>
                    <a:pt x="268" y="323"/>
                    <a:pt x="270" y="334"/>
                    <a:pt x="261" y="340"/>
                  </a:cubicBezTo>
                  <a:cubicBezTo>
                    <a:pt x="257" y="343"/>
                    <a:pt x="252" y="346"/>
                    <a:pt x="246" y="348"/>
                  </a:cubicBezTo>
                  <a:cubicBezTo>
                    <a:pt x="242" y="350"/>
                    <a:pt x="238" y="350"/>
                    <a:pt x="234" y="352"/>
                  </a:cubicBezTo>
                  <a:cubicBezTo>
                    <a:pt x="223" y="359"/>
                    <a:pt x="216" y="369"/>
                    <a:pt x="204" y="374"/>
                  </a:cubicBezTo>
                  <a:cubicBezTo>
                    <a:pt x="188" y="382"/>
                    <a:pt x="173" y="392"/>
                    <a:pt x="157" y="400"/>
                  </a:cubicBezTo>
                  <a:cubicBezTo>
                    <a:pt x="138" y="412"/>
                    <a:pt x="115" y="413"/>
                    <a:pt x="96" y="426"/>
                  </a:cubicBezTo>
                  <a:cubicBezTo>
                    <a:pt x="76" y="439"/>
                    <a:pt x="66" y="460"/>
                    <a:pt x="61" y="482"/>
                  </a:cubicBezTo>
                  <a:cubicBezTo>
                    <a:pt x="57" y="497"/>
                    <a:pt x="53" y="511"/>
                    <a:pt x="50" y="526"/>
                  </a:cubicBezTo>
                  <a:cubicBezTo>
                    <a:pt x="44" y="565"/>
                    <a:pt x="38" y="605"/>
                    <a:pt x="33" y="644"/>
                  </a:cubicBezTo>
                  <a:cubicBezTo>
                    <a:pt x="28" y="681"/>
                    <a:pt x="25" y="719"/>
                    <a:pt x="21" y="757"/>
                  </a:cubicBezTo>
                  <a:cubicBezTo>
                    <a:pt x="19" y="777"/>
                    <a:pt x="18" y="797"/>
                    <a:pt x="16" y="817"/>
                  </a:cubicBezTo>
                  <a:cubicBezTo>
                    <a:pt x="14" y="842"/>
                    <a:pt x="9" y="868"/>
                    <a:pt x="7" y="893"/>
                  </a:cubicBezTo>
                  <a:cubicBezTo>
                    <a:pt x="4" y="916"/>
                    <a:pt x="6" y="939"/>
                    <a:pt x="5" y="962"/>
                  </a:cubicBezTo>
                  <a:cubicBezTo>
                    <a:pt x="5" y="972"/>
                    <a:pt x="4" y="982"/>
                    <a:pt x="4" y="992"/>
                  </a:cubicBezTo>
                  <a:cubicBezTo>
                    <a:pt x="4" y="997"/>
                    <a:pt x="5" y="1002"/>
                    <a:pt x="4" y="1007"/>
                  </a:cubicBezTo>
                  <a:cubicBezTo>
                    <a:pt x="4" y="1016"/>
                    <a:pt x="2" y="1024"/>
                    <a:pt x="3" y="1032"/>
                  </a:cubicBezTo>
                  <a:cubicBezTo>
                    <a:pt x="3" y="1041"/>
                    <a:pt x="9" y="1051"/>
                    <a:pt x="7" y="1059"/>
                  </a:cubicBezTo>
                  <a:cubicBezTo>
                    <a:pt x="4" y="1069"/>
                    <a:pt x="8" y="1083"/>
                    <a:pt x="10" y="1094"/>
                  </a:cubicBezTo>
                  <a:cubicBezTo>
                    <a:pt x="12" y="1105"/>
                    <a:pt x="17" y="1115"/>
                    <a:pt x="8" y="1125"/>
                  </a:cubicBezTo>
                  <a:cubicBezTo>
                    <a:pt x="4" y="1129"/>
                    <a:pt x="3" y="1134"/>
                    <a:pt x="3" y="1140"/>
                  </a:cubicBezTo>
                  <a:cubicBezTo>
                    <a:pt x="3" y="1143"/>
                    <a:pt x="3" y="1146"/>
                    <a:pt x="3" y="1150"/>
                  </a:cubicBezTo>
                  <a:cubicBezTo>
                    <a:pt x="4" y="1153"/>
                    <a:pt x="8" y="1158"/>
                    <a:pt x="7" y="1161"/>
                  </a:cubicBezTo>
                  <a:cubicBezTo>
                    <a:pt x="5" y="1167"/>
                    <a:pt x="0" y="1172"/>
                    <a:pt x="4" y="1179"/>
                  </a:cubicBezTo>
                  <a:cubicBezTo>
                    <a:pt x="8" y="1185"/>
                    <a:pt x="14" y="1183"/>
                    <a:pt x="19" y="1186"/>
                  </a:cubicBezTo>
                  <a:cubicBezTo>
                    <a:pt x="22" y="1188"/>
                    <a:pt x="15" y="1195"/>
                    <a:pt x="14" y="1198"/>
                  </a:cubicBezTo>
                  <a:cubicBezTo>
                    <a:pt x="13" y="1204"/>
                    <a:pt x="14" y="1210"/>
                    <a:pt x="15" y="1215"/>
                  </a:cubicBezTo>
                  <a:cubicBezTo>
                    <a:pt x="16" y="1220"/>
                    <a:pt x="12" y="1220"/>
                    <a:pt x="12" y="1223"/>
                  </a:cubicBezTo>
                  <a:cubicBezTo>
                    <a:pt x="13" y="1227"/>
                    <a:pt x="16" y="1229"/>
                    <a:pt x="16" y="1233"/>
                  </a:cubicBezTo>
                  <a:cubicBezTo>
                    <a:pt x="17" y="1245"/>
                    <a:pt x="16" y="1256"/>
                    <a:pt x="14" y="1267"/>
                  </a:cubicBezTo>
                  <a:cubicBezTo>
                    <a:pt x="13" y="1275"/>
                    <a:pt x="20" y="1284"/>
                    <a:pt x="22" y="1291"/>
                  </a:cubicBezTo>
                  <a:cubicBezTo>
                    <a:pt x="26" y="1302"/>
                    <a:pt x="29" y="1313"/>
                    <a:pt x="34" y="1324"/>
                  </a:cubicBezTo>
                  <a:cubicBezTo>
                    <a:pt x="41" y="1343"/>
                    <a:pt x="57" y="1349"/>
                    <a:pt x="76" y="1355"/>
                  </a:cubicBezTo>
                  <a:cubicBezTo>
                    <a:pt x="80" y="1356"/>
                    <a:pt x="88" y="1359"/>
                    <a:pt x="92" y="1358"/>
                  </a:cubicBezTo>
                  <a:cubicBezTo>
                    <a:pt x="96" y="1357"/>
                    <a:pt x="98" y="1357"/>
                    <a:pt x="102" y="1358"/>
                  </a:cubicBezTo>
                  <a:cubicBezTo>
                    <a:pt x="109" y="1359"/>
                    <a:pt x="107" y="1373"/>
                    <a:pt x="108" y="1379"/>
                  </a:cubicBezTo>
                  <a:cubicBezTo>
                    <a:pt x="111" y="1404"/>
                    <a:pt x="115" y="1429"/>
                    <a:pt x="120" y="1453"/>
                  </a:cubicBezTo>
                  <a:cubicBezTo>
                    <a:pt x="124" y="1473"/>
                    <a:pt x="131" y="1492"/>
                    <a:pt x="135" y="1512"/>
                  </a:cubicBezTo>
                  <a:cubicBezTo>
                    <a:pt x="138" y="1532"/>
                    <a:pt x="139" y="1553"/>
                    <a:pt x="140" y="1573"/>
                  </a:cubicBezTo>
                  <a:cubicBezTo>
                    <a:pt x="143" y="1647"/>
                    <a:pt x="140" y="1720"/>
                    <a:pt x="145" y="1793"/>
                  </a:cubicBezTo>
                  <a:cubicBezTo>
                    <a:pt x="150" y="1860"/>
                    <a:pt x="153" y="1926"/>
                    <a:pt x="157" y="1992"/>
                  </a:cubicBezTo>
                  <a:cubicBezTo>
                    <a:pt x="158" y="2011"/>
                    <a:pt x="159" y="2029"/>
                    <a:pt x="159" y="2048"/>
                  </a:cubicBezTo>
                  <a:cubicBezTo>
                    <a:pt x="159" y="2053"/>
                    <a:pt x="160" y="2057"/>
                    <a:pt x="160" y="2062"/>
                  </a:cubicBezTo>
                  <a:cubicBezTo>
                    <a:pt x="160" y="2077"/>
                    <a:pt x="164" y="2090"/>
                    <a:pt x="167" y="2105"/>
                  </a:cubicBezTo>
                  <a:cubicBezTo>
                    <a:pt x="170" y="2114"/>
                    <a:pt x="165" y="2124"/>
                    <a:pt x="169" y="2133"/>
                  </a:cubicBezTo>
                  <a:cubicBezTo>
                    <a:pt x="171" y="2138"/>
                    <a:pt x="173" y="2140"/>
                    <a:pt x="173" y="2144"/>
                  </a:cubicBezTo>
                  <a:cubicBezTo>
                    <a:pt x="175" y="2162"/>
                    <a:pt x="176" y="2179"/>
                    <a:pt x="179" y="2196"/>
                  </a:cubicBezTo>
                  <a:cubicBezTo>
                    <a:pt x="180" y="2202"/>
                    <a:pt x="180" y="2210"/>
                    <a:pt x="184" y="2216"/>
                  </a:cubicBezTo>
                  <a:cubicBezTo>
                    <a:pt x="187" y="2221"/>
                    <a:pt x="192" y="2216"/>
                    <a:pt x="196" y="2217"/>
                  </a:cubicBezTo>
                  <a:cubicBezTo>
                    <a:pt x="205" y="2218"/>
                    <a:pt x="183" y="2238"/>
                    <a:pt x="183" y="2239"/>
                  </a:cubicBezTo>
                  <a:cubicBezTo>
                    <a:pt x="172" y="2249"/>
                    <a:pt x="165" y="2261"/>
                    <a:pt x="151" y="2268"/>
                  </a:cubicBezTo>
                  <a:cubicBezTo>
                    <a:pt x="142" y="2273"/>
                    <a:pt x="128" y="2275"/>
                    <a:pt x="124" y="2287"/>
                  </a:cubicBezTo>
                  <a:cubicBezTo>
                    <a:pt x="123" y="2291"/>
                    <a:pt x="125" y="2298"/>
                    <a:pt x="120" y="2301"/>
                  </a:cubicBezTo>
                  <a:cubicBezTo>
                    <a:pt x="117" y="2303"/>
                    <a:pt x="111" y="2303"/>
                    <a:pt x="111" y="2308"/>
                  </a:cubicBezTo>
                  <a:cubicBezTo>
                    <a:pt x="112" y="2315"/>
                    <a:pt x="117" y="2315"/>
                    <a:pt x="122" y="2316"/>
                  </a:cubicBezTo>
                  <a:cubicBezTo>
                    <a:pt x="128" y="2316"/>
                    <a:pt x="133" y="2318"/>
                    <a:pt x="138" y="2320"/>
                  </a:cubicBezTo>
                  <a:cubicBezTo>
                    <a:pt x="157" y="2323"/>
                    <a:pt x="177" y="2323"/>
                    <a:pt x="197" y="2323"/>
                  </a:cubicBezTo>
                  <a:cubicBezTo>
                    <a:pt x="215" y="2323"/>
                    <a:pt x="233" y="2322"/>
                    <a:pt x="251" y="2320"/>
                  </a:cubicBezTo>
                  <a:cubicBezTo>
                    <a:pt x="260" y="2320"/>
                    <a:pt x="271" y="2320"/>
                    <a:pt x="273" y="2309"/>
                  </a:cubicBezTo>
                  <a:cubicBezTo>
                    <a:pt x="275" y="2299"/>
                    <a:pt x="277" y="2294"/>
                    <a:pt x="287" y="2298"/>
                  </a:cubicBezTo>
                  <a:cubicBezTo>
                    <a:pt x="298" y="2302"/>
                    <a:pt x="305" y="2301"/>
                    <a:pt x="316" y="2298"/>
                  </a:cubicBezTo>
                  <a:cubicBezTo>
                    <a:pt x="323" y="2295"/>
                    <a:pt x="344" y="2293"/>
                    <a:pt x="343" y="2282"/>
                  </a:cubicBezTo>
                  <a:cubicBezTo>
                    <a:pt x="342" y="2275"/>
                    <a:pt x="342" y="2268"/>
                    <a:pt x="342" y="2262"/>
                  </a:cubicBezTo>
                  <a:cubicBezTo>
                    <a:pt x="342" y="2257"/>
                    <a:pt x="343" y="2250"/>
                    <a:pt x="341" y="2246"/>
                  </a:cubicBezTo>
                  <a:cubicBezTo>
                    <a:pt x="339" y="2243"/>
                    <a:pt x="335" y="2244"/>
                    <a:pt x="334" y="2243"/>
                  </a:cubicBezTo>
                  <a:cubicBezTo>
                    <a:pt x="332" y="2239"/>
                    <a:pt x="334" y="2230"/>
                    <a:pt x="334" y="2225"/>
                  </a:cubicBezTo>
                  <a:cubicBezTo>
                    <a:pt x="334" y="2221"/>
                    <a:pt x="334" y="2215"/>
                    <a:pt x="332" y="2211"/>
                  </a:cubicBezTo>
                  <a:cubicBezTo>
                    <a:pt x="330" y="2207"/>
                    <a:pt x="333" y="2204"/>
                    <a:pt x="335" y="2199"/>
                  </a:cubicBezTo>
                  <a:cubicBezTo>
                    <a:pt x="337" y="2194"/>
                    <a:pt x="335" y="2188"/>
                    <a:pt x="334" y="2183"/>
                  </a:cubicBezTo>
                  <a:cubicBezTo>
                    <a:pt x="333" y="2175"/>
                    <a:pt x="334" y="2167"/>
                    <a:pt x="333" y="2159"/>
                  </a:cubicBezTo>
                  <a:cubicBezTo>
                    <a:pt x="332" y="2142"/>
                    <a:pt x="331" y="2124"/>
                    <a:pt x="330" y="2106"/>
                  </a:cubicBezTo>
                  <a:cubicBezTo>
                    <a:pt x="328" y="2086"/>
                    <a:pt x="326" y="2067"/>
                    <a:pt x="324" y="2047"/>
                  </a:cubicBezTo>
                  <a:cubicBezTo>
                    <a:pt x="321" y="2027"/>
                    <a:pt x="323" y="2006"/>
                    <a:pt x="323" y="1985"/>
                  </a:cubicBezTo>
                  <a:cubicBezTo>
                    <a:pt x="322" y="1966"/>
                    <a:pt x="321" y="1947"/>
                    <a:pt x="319" y="1928"/>
                  </a:cubicBezTo>
                  <a:cubicBezTo>
                    <a:pt x="317" y="1902"/>
                    <a:pt x="318" y="1877"/>
                    <a:pt x="316" y="1852"/>
                  </a:cubicBezTo>
                  <a:cubicBezTo>
                    <a:pt x="313" y="1824"/>
                    <a:pt x="309" y="1796"/>
                    <a:pt x="298" y="1770"/>
                  </a:cubicBezTo>
                  <a:cubicBezTo>
                    <a:pt x="294" y="1759"/>
                    <a:pt x="290" y="1752"/>
                    <a:pt x="289" y="1740"/>
                  </a:cubicBezTo>
                  <a:cubicBezTo>
                    <a:pt x="288" y="1729"/>
                    <a:pt x="290" y="1718"/>
                    <a:pt x="289" y="1706"/>
                  </a:cubicBezTo>
                  <a:cubicBezTo>
                    <a:pt x="287" y="1683"/>
                    <a:pt x="283" y="1661"/>
                    <a:pt x="286" y="1638"/>
                  </a:cubicBezTo>
                  <a:cubicBezTo>
                    <a:pt x="289" y="1609"/>
                    <a:pt x="292" y="1580"/>
                    <a:pt x="296" y="1552"/>
                  </a:cubicBezTo>
                  <a:cubicBezTo>
                    <a:pt x="302" y="1520"/>
                    <a:pt x="305" y="1488"/>
                    <a:pt x="309" y="1456"/>
                  </a:cubicBezTo>
                  <a:cubicBezTo>
                    <a:pt x="312" y="1435"/>
                    <a:pt x="315" y="1415"/>
                    <a:pt x="319" y="1394"/>
                  </a:cubicBezTo>
                  <a:cubicBezTo>
                    <a:pt x="320" y="1384"/>
                    <a:pt x="318" y="1375"/>
                    <a:pt x="319" y="1365"/>
                  </a:cubicBezTo>
                  <a:cubicBezTo>
                    <a:pt x="320" y="1355"/>
                    <a:pt x="323" y="1345"/>
                    <a:pt x="322" y="1335"/>
                  </a:cubicBezTo>
                  <a:cubicBezTo>
                    <a:pt x="322" y="1326"/>
                    <a:pt x="322" y="1318"/>
                    <a:pt x="325" y="1309"/>
                  </a:cubicBezTo>
                  <a:cubicBezTo>
                    <a:pt x="327" y="1304"/>
                    <a:pt x="329" y="1292"/>
                    <a:pt x="332" y="1289"/>
                  </a:cubicBezTo>
                  <a:cubicBezTo>
                    <a:pt x="332" y="1290"/>
                    <a:pt x="336" y="1293"/>
                    <a:pt x="337" y="1293"/>
                  </a:cubicBezTo>
                  <a:cubicBezTo>
                    <a:pt x="341" y="1295"/>
                    <a:pt x="343" y="1295"/>
                    <a:pt x="344" y="1300"/>
                  </a:cubicBezTo>
                  <a:cubicBezTo>
                    <a:pt x="347" y="1311"/>
                    <a:pt x="349" y="1323"/>
                    <a:pt x="352" y="1334"/>
                  </a:cubicBezTo>
                  <a:cubicBezTo>
                    <a:pt x="357" y="1354"/>
                    <a:pt x="359" y="1375"/>
                    <a:pt x="361" y="1396"/>
                  </a:cubicBezTo>
                  <a:cubicBezTo>
                    <a:pt x="365" y="1433"/>
                    <a:pt x="372" y="1470"/>
                    <a:pt x="376" y="1507"/>
                  </a:cubicBezTo>
                  <a:cubicBezTo>
                    <a:pt x="378" y="1526"/>
                    <a:pt x="381" y="1544"/>
                    <a:pt x="384" y="1561"/>
                  </a:cubicBezTo>
                  <a:cubicBezTo>
                    <a:pt x="388" y="1578"/>
                    <a:pt x="390" y="1597"/>
                    <a:pt x="396" y="1613"/>
                  </a:cubicBezTo>
                  <a:cubicBezTo>
                    <a:pt x="404" y="1633"/>
                    <a:pt x="411" y="1652"/>
                    <a:pt x="415" y="1674"/>
                  </a:cubicBezTo>
                  <a:cubicBezTo>
                    <a:pt x="418" y="1695"/>
                    <a:pt x="422" y="1715"/>
                    <a:pt x="424" y="1736"/>
                  </a:cubicBezTo>
                  <a:cubicBezTo>
                    <a:pt x="429" y="1768"/>
                    <a:pt x="430" y="1800"/>
                    <a:pt x="433" y="1832"/>
                  </a:cubicBezTo>
                  <a:cubicBezTo>
                    <a:pt x="436" y="1867"/>
                    <a:pt x="440" y="1901"/>
                    <a:pt x="443" y="1936"/>
                  </a:cubicBezTo>
                  <a:cubicBezTo>
                    <a:pt x="447" y="1970"/>
                    <a:pt x="451" y="2004"/>
                    <a:pt x="455" y="2039"/>
                  </a:cubicBezTo>
                  <a:cubicBezTo>
                    <a:pt x="458" y="2067"/>
                    <a:pt x="457" y="2096"/>
                    <a:pt x="459" y="2124"/>
                  </a:cubicBezTo>
                  <a:cubicBezTo>
                    <a:pt x="460" y="2144"/>
                    <a:pt x="468" y="2163"/>
                    <a:pt x="471" y="2183"/>
                  </a:cubicBezTo>
                  <a:cubicBezTo>
                    <a:pt x="472" y="2192"/>
                    <a:pt x="471" y="2201"/>
                    <a:pt x="472" y="2210"/>
                  </a:cubicBezTo>
                  <a:cubicBezTo>
                    <a:pt x="472" y="2218"/>
                    <a:pt x="479" y="2223"/>
                    <a:pt x="478" y="2230"/>
                  </a:cubicBezTo>
                  <a:cubicBezTo>
                    <a:pt x="477" y="2234"/>
                    <a:pt x="478" y="2238"/>
                    <a:pt x="477" y="2243"/>
                  </a:cubicBezTo>
                  <a:cubicBezTo>
                    <a:pt x="477" y="2246"/>
                    <a:pt x="473" y="2245"/>
                    <a:pt x="471" y="2246"/>
                  </a:cubicBezTo>
                  <a:cubicBezTo>
                    <a:pt x="469" y="2248"/>
                    <a:pt x="469" y="2256"/>
                    <a:pt x="469" y="2259"/>
                  </a:cubicBezTo>
                  <a:cubicBezTo>
                    <a:pt x="468" y="2266"/>
                    <a:pt x="468" y="2274"/>
                    <a:pt x="468" y="2282"/>
                  </a:cubicBezTo>
                  <a:cubicBezTo>
                    <a:pt x="467" y="2289"/>
                    <a:pt x="468" y="2295"/>
                    <a:pt x="476" y="2298"/>
                  </a:cubicBezTo>
                  <a:cubicBezTo>
                    <a:pt x="480" y="2300"/>
                    <a:pt x="484" y="2303"/>
                    <a:pt x="489" y="2304"/>
                  </a:cubicBezTo>
                  <a:cubicBezTo>
                    <a:pt x="491" y="2305"/>
                    <a:pt x="497" y="2301"/>
                    <a:pt x="498" y="2302"/>
                  </a:cubicBezTo>
                  <a:cubicBezTo>
                    <a:pt x="501" y="2305"/>
                    <a:pt x="488" y="2317"/>
                    <a:pt x="497" y="2323"/>
                  </a:cubicBezTo>
                  <a:cubicBezTo>
                    <a:pt x="505" y="2329"/>
                    <a:pt x="519" y="2329"/>
                    <a:pt x="529" y="2330"/>
                  </a:cubicBezTo>
                  <a:cubicBezTo>
                    <a:pt x="550" y="2334"/>
                    <a:pt x="572" y="2335"/>
                    <a:pt x="594" y="2334"/>
                  </a:cubicBezTo>
                  <a:cubicBezTo>
                    <a:pt x="607" y="2333"/>
                    <a:pt x="620" y="2331"/>
                    <a:pt x="634" y="2331"/>
                  </a:cubicBezTo>
                  <a:cubicBezTo>
                    <a:pt x="645" y="2331"/>
                    <a:pt x="640" y="2319"/>
                    <a:pt x="634" y="2314"/>
                  </a:cubicBezTo>
                  <a:cubicBezTo>
                    <a:pt x="631" y="2312"/>
                    <a:pt x="630" y="2313"/>
                    <a:pt x="630" y="2309"/>
                  </a:cubicBezTo>
                  <a:cubicBezTo>
                    <a:pt x="630" y="2304"/>
                    <a:pt x="630" y="2298"/>
                    <a:pt x="629" y="2293"/>
                  </a:cubicBezTo>
                  <a:cubicBezTo>
                    <a:pt x="625" y="2283"/>
                    <a:pt x="615" y="2275"/>
                    <a:pt x="611" y="2265"/>
                  </a:cubicBezTo>
                  <a:cubicBezTo>
                    <a:pt x="606" y="2255"/>
                    <a:pt x="597" y="2249"/>
                    <a:pt x="594" y="2238"/>
                  </a:cubicBezTo>
                  <a:cubicBezTo>
                    <a:pt x="590" y="2228"/>
                    <a:pt x="591" y="2228"/>
                    <a:pt x="597" y="2219"/>
                  </a:cubicBezTo>
                  <a:cubicBezTo>
                    <a:pt x="604" y="2208"/>
                    <a:pt x="600" y="2196"/>
                    <a:pt x="598" y="2184"/>
                  </a:cubicBezTo>
                  <a:cubicBezTo>
                    <a:pt x="596" y="2174"/>
                    <a:pt x="595" y="2163"/>
                    <a:pt x="594" y="2152"/>
                  </a:cubicBezTo>
                  <a:cubicBezTo>
                    <a:pt x="592" y="2132"/>
                    <a:pt x="584" y="2106"/>
                    <a:pt x="593" y="2087"/>
                  </a:cubicBezTo>
                  <a:cubicBezTo>
                    <a:pt x="599" y="2074"/>
                    <a:pt x="597" y="2057"/>
                    <a:pt x="598" y="2043"/>
                  </a:cubicBezTo>
                  <a:cubicBezTo>
                    <a:pt x="598" y="2006"/>
                    <a:pt x="597" y="1969"/>
                    <a:pt x="596" y="1932"/>
                  </a:cubicBezTo>
                  <a:cubicBezTo>
                    <a:pt x="596" y="1891"/>
                    <a:pt x="595" y="1851"/>
                    <a:pt x="591" y="1810"/>
                  </a:cubicBezTo>
                  <a:cubicBezTo>
                    <a:pt x="590" y="1792"/>
                    <a:pt x="587" y="1773"/>
                    <a:pt x="586" y="1754"/>
                  </a:cubicBezTo>
                  <a:cubicBezTo>
                    <a:pt x="584" y="1732"/>
                    <a:pt x="585" y="1711"/>
                    <a:pt x="582" y="1689"/>
                  </a:cubicBezTo>
                  <a:cubicBezTo>
                    <a:pt x="579" y="1666"/>
                    <a:pt x="583" y="1642"/>
                    <a:pt x="584" y="1619"/>
                  </a:cubicBezTo>
                  <a:cubicBezTo>
                    <a:pt x="584" y="1586"/>
                    <a:pt x="589" y="1553"/>
                    <a:pt x="592" y="1520"/>
                  </a:cubicBezTo>
                  <a:cubicBezTo>
                    <a:pt x="596" y="1465"/>
                    <a:pt x="584" y="1412"/>
                    <a:pt x="584" y="1357"/>
                  </a:cubicBezTo>
                  <a:cubicBezTo>
                    <a:pt x="584" y="1352"/>
                    <a:pt x="583" y="1341"/>
                    <a:pt x="588" y="1338"/>
                  </a:cubicBezTo>
                  <a:cubicBezTo>
                    <a:pt x="592" y="1336"/>
                    <a:pt x="597" y="1335"/>
                    <a:pt x="601" y="1332"/>
                  </a:cubicBezTo>
                  <a:cubicBezTo>
                    <a:pt x="607" y="1329"/>
                    <a:pt x="615" y="1328"/>
                    <a:pt x="619" y="1324"/>
                  </a:cubicBezTo>
                  <a:cubicBezTo>
                    <a:pt x="622" y="1321"/>
                    <a:pt x="624" y="1319"/>
                    <a:pt x="629" y="1319"/>
                  </a:cubicBezTo>
                  <a:cubicBezTo>
                    <a:pt x="635" y="1318"/>
                    <a:pt x="636" y="1314"/>
                    <a:pt x="637" y="1309"/>
                  </a:cubicBezTo>
                  <a:cubicBezTo>
                    <a:pt x="639" y="1305"/>
                    <a:pt x="641" y="1304"/>
                    <a:pt x="645" y="1302"/>
                  </a:cubicBezTo>
                  <a:cubicBezTo>
                    <a:pt x="651" y="1300"/>
                    <a:pt x="652" y="1293"/>
                    <a:pt x="654" y="1288"/>
                  </a:cubicBezTo>
                  <a:cubicBezTo>
                    <a:pt x="656" y="1278"/>
                    <a:pt x="657" y="1268"/>
                    <a:pt x="660" y="1258"/>
                  </a:cubicBezTo>
                  <a:cubicBezTo>
                    <a:pt x="663" y="1247"/>
                    <a:pt x="661" y="1232"/>
                    <a:pt x="661" y="1220"/>
                  </a:cubicBezTo>
                  <a:cubicBezTo>
                    <a:pt x="661" y="1218"/>
                    <a:pt x="659" y="1207"/>
                    <a:pt x="661" y="1207"/>
                  </a:cubicBezTo>
                  <a:cubicBezTo>
                    <a:pt x="663" y="1207"/>
                    <a:pt x="666" y="1205"/>
                    <a:pt x="665" y="1203"/>
                  </a:cubicBezTo>
                  <a:cubicBezTo>
                    <a:pt x="665" y="1200"/>
                    <a:pt x="663" y="1199"/>
                    <a:pt x="663" y="1196"/>
                  </a:cubicBezTo>
                  <a:cubicBezTo>
                    <a:pt x="664" y="1189"/>
                    <a:pt x="667" y="1185"/>
                    <a:pt x="667" y="1178"/>
                  </a:cubicBezTo>
                  <a:cubicBezTo>
                    <a:pt x="666" y="1173"/>
                    <a:pt x="666" y="1167"/>
                    <a:pt x="663" y="1164"/>
                  </a:cubicBezTo>
                  <a:cubicBezTo>
                    <a:pt x="659" y="1158"/>
                    <a:pt x="664" y="1160"/>
                    <a:pt x="667" y="1156"/>
                  </a:cubicBezTo>
                  <a:cubicBezTo>
                    <a:pt x="671" y="1150"/>
                    <a:pt x="670" y="1138"/>
                    <a:pt x="668" y="1131"/>
                  </a:cubicBezTo>
                  <a:cubicBezTo>
                    <a:pt x="667" y="1127"/>
                    <a:pt x="665" y="1127"/>
                    <a:pt x="663" y="1123"/>
                  </a:cubicBezTo>
                  <a:cubicBezTo>
                    <a:pt x="661" y="1119"/>
                    <a:pt x="667" y="1112"/>
                    <a:pt x="669" y="1109"/>
                  </a:cubicBezTo>
                  <a:cubicBezTo>
                    <a:pt x="671" y="1103"/>
                    <a:pt x="673" y="1096"/>
                    <a:pt x="671" y="1089"/>
                  </a:cubicBezTo>
                  <a:cubicBezTo>
                    <a:pt x="670" y="1082"/>
                    <a:pt x="664" y="1076"/>
                    <a:pt x="667" y="1068"/>
                  </a:cubicBezTo>
                  <a:cubicBezTo>
                    <a:pt x="670" y="1062"/>
                    <a:pt x="674" y="1058"/>
                    <a:pt x="675" y="1052"/>
                  </a:cubicBezTo>
                  <a:cubicBezTo>
                    <a:pt x="676" y="1046"/>
                    <a:pt x="676" y="1041"/>
                    <a:pt x="676" y="1035"/>
                  </a:cubicBezTo>
                  <a:cubicBezTo>
                    <a:pt x="676" y="1022"/>
                    <a:pt x="680" y="1011"/>
                    <a:pt x="676" y="998"/>
                  </a:cubicBezTo>
                  <a:moveTo>
                    <a:pt x="95" y="1318"/>
                  </a:moveTo>
                  <a:cubicBezTo>
                    <a:pt x="91" y="1319"/>
                    <a:pt x="87" y="1323"/>
                    <a:pt x="86" y="1318"/>
                  </a:cubicBezTo>
                  <a:cubicBezTo>
                    <a:pt x="85" y="1310"/>
                    <a:pt x="85" y="1301"/>
                    <a:pt x="82" y="1294"/>
                  </a:cubicBezTo>
                  <a:cubicBezTo>
                    <a:pt x="80" y="1292"/>
                    <a:pt x="82" y="1291"/>
                    <a:pt x="83" y="1290"/>
                  </a:cubicBezTo>
                  <a:cubicBezTo>
                    <a:pt x="84" y="1286"/>
                    <a:pt x="81" y="1281"/>
                    <a:pt x="81" y="1278"/>
                  </a:cubicBezTo>
                  <a:cubicBezTo>
                    <a:pt x="80" y="1272"/>
                    <a:pt x="79" y="1266"/>
                    <a:pt x="86" y="1265"/>
                  </a:cubicBezTo>
                  <a:cubicBezTo>
                    <a:pt x="87" y="1265"/>
                    <a:pt x="94" y="1260"/>
                    <a:pt x="95" y="1262"/>
                  </a:cubicBezTo>
                  <a:cubicBezTo>
                    <a:pt x="98" y="1267"/>
                    <a:pt x="96" y="1278"/>
                    <a:pt x="96" y="1283"/>
                  </a:cubicBezTo>
                  <a:cubicBezTo>
                    <a:pt x="97" y="1291"/>
                    <a:pt x="97" y="1299"/>
                    <a:pt x="98" y="1307"/>
                  </a:cubicBezTo>
                  <a:cubicBezTo>
                    <a:pt x="99" y="1313"/>
                    <a:pt x="102" y="1316"/>
                    <a:pt x="95" y="1318"/>
                  </a:cubicBezTo>
                  <a:moveTo>
                    <a:pt x="146" y="764"/>
                  </a:moveTo>
                  <a:cubicBezTo>
                    <a:pt x="146" y="772"/>
                    <a:pt x="143" y="781"/>
                    <a:pt x="142" y="790"/>
                  </a:cubicBezTo>
                  <a:cubicBezTo>
                    <a:pt x="141" y="800"/>
                    <a:pt x="143" y="810"/>
                    <a:pt x="145" y="821"/>
                  </a:cubicBezTo>
                  <a:cubicBezTo>
                    <a:pt x="146" y="828"/>
                    <a:pt x="147" y="836"/>
                    <a:pt x="145" y="844"/>
                  </a:cubicBezTo>
                  <a:cubicBezTo>
                    <a:pt x="144" y="853"/>
                    <a:pt x="140" y="862"/>
                    <a:pt x="139" y="872"/>
                  </a:cubicBezTo>
                  <a:cubicBezTo>
                    <a:pt x="139" y="882"/>
                    <a:pt x="139" y="893"/>
                    <a:pt x="138" y="904"/>
                  </a:cubicBezTo>
                  <a:cubicBezTo>
                    <a:pt x="137" y="913"/>
                    <a:pt x="134" y="922"/>
                    <a:pt x="135" y="931"/>
                  </a:cubicBezTo>
                  <a:cubicBezTo>
                    <a:pt x="135" y="940"/>
                    <a:pt x="142" y="948"/>
                    <a:pt x="139" y="958"/>
                  </a:cubicBezTo>
                  <a:cubicBezTo>
                    <a:pt x="137" y="969"/>
                    <a:pt x="131" y="980"/>
                    <a:pt x="128" y="991"/>
                  </a:cubicBezTo>
                  <a:cubicBezTo>
                    <a:pt x="125" y="999"/>
                    <a:pt x="123" y="1007"/>
                    <a:pt x="122" y="1016"/>
                  </a:cubicBezTo>
                  <a:cubicBezTo>
                    <a:pt x="120" y="1023"/>
                    <a:pt x="116" y="1029"/>
                    <a:pt x="114" y="1036"/>
                  </a:cubicBezTo>
                  <a:cubicBezTo>
                    <a:pt x="110" y="1050"/>
                    <a:pt x="108" y="1065"/>
                    <a:pt x="106" y="1080"/>
                  </a:cubicBezTo>
                  <a:cubicBezTo>
                    <a:pt x="104" y="1087"/>
                    <a:pt x="96" y="1090"/>
                    <a:pt x="104" y="1095"/>
                  </a:cubicBezTo>
                  <a:cubicBezTo>
                    <a:pt x="108" y="1099"/>
                    <a:pt x="104" y="1113"/>
                    <a:pt x="103" y="1118"/>
                  </a:cubicBezTo>
                  <a:cubicBezTo>
                    <a:pt x="103" y="1120"/>
                    <a:pt x="101" y="1141"/>
                    <a:pt x="99" y="1142"/>
                  </a:cubicBezTo>
                  <a:cubicBezTo>
                    <a:pt x="96" y="1142"/>
                    <a:pt x="91" y="1128"/>
                    <a:pt x="91" y="1125"/>
                  </a:cubicBezTo>
                  <a:cubicBezTo>
                    <a:pt x="91" y="1119"/>
                    <a:pt x="92" y="1114"/>
                    <a:pt x="93" y="1108"/>
                  </a:cubicBezTo>
                  <a:cubicBezTo>
                    <a:pt x="93" y="1104"/>
                    <a:pt x="91" y="1099"/>
                    <a:pt x="92" y="1095"/>
                  </a:cubicBezTo>
                  <a:cubicBezTo>
                    <a:pt x="98" y="1080"/>
                    <a:pt x="100" y="1065"/>
                    <a:pt x="104" y="1050"/>
                  </a:cubicBezTo>
                  <a:cubicBezTo>
                    <a:pt x="106" y="1042"/>
                    <a:pt x="108" y="1034"/>
                    <a:pt x="110" y="1026"/>
                  </a:cubicBezTo>
                  <a:cubicBezTo>
                    <a:pt x="112" y="1018"/>
                    <a:pt x="118" y="1008"/>
                    <a:pt x="117" y="1000"/>
                  </a:cubicBezTo>
                  <a:cubicBezTo>
                    <a:pt x="117" y="994"/>
                    <a:pt x="115" y="988"/>
                    <a:pt x="117" y="982"/>
                  </a:cubicBezTo>
                  <a:cubicBezTo>
                    <a:pt x="118" y="977"/>
                    <a:pt x="120" y="973"/>
                    <a:pt x="121" y="969"/>
                  </a:cubicBezTo>
                  <a:cubicBezTo>
                    <a:pt x="123" y="958"/>
                    <a:pt x="122" y="947"/>
                    <a:pt x="124" y="936"/>
                  </a:cubicBezTo>
                  <a:cubicBezTo>
                    <a:pt x="126" y="924"/>
                    <a:pt x="130" y="918"/>
                    <a:pt x="126" y="906"/>
                  </a:cubicBezTo>
                  <a:cubicBezTo>
                    <a:pt x="124" y="897"/>
                    <a:pt x="129" y="888"/>
                    <a:pt x="132" y="879"/>
                  </a:cubicBezTo>
                  <a:cubicBezTo>
                    <a:pt x="135" y="868"/>
                    <a:pt x="133" y="860"/>
                    <a:pt x="133" y="849"/>
                  </a:cubicBezTo>
                  <a:cubicBezTo>
                    <a:pt x="132" y="842"/>
                    <a:pt x="129" y="832"/>
                    <a:pt x="131" y="825"/>
                  </a:cubicBezTo>
                  <a:cubicBezTo>
                    <a:pt x="137" y="805"/>
                    <a:pt x="133" y="784"/>
                    <a:pt x="137" y="764"/>
                  </a:cubicBezTo>
                  <a:cubicBezTo>
                    <a:pt x="140" y="753"/>
                    <a:pt x="142" y="743"/>
                    <a:pt x="144" y="733"/>
                  </a:cubicBezTo>
                  <a:cubicBezTo>
                    <a:pt x="144" y="731"/>
                    <a:pt x="145" y="722"/>
                    <a:pt x="147" y="720"/>
                  </a:cubicBezTo>
                  <a:cubicBezTo>
                    <a:pt x="147" y="721"/>
                    <a:pt x="147" y="731"/>
                    <a:pt x="147" y="732"/>
                  </a:cubicBezTo>
                  <a:cubicBezTo>
                    <a:pt x="147" y="736"/>
                    <a:pt x="148" y="738"/>
                    <a:pt x="148" y="742"/>
                  </a:cubicBezTo>
                  <a:cubicBezTo>
                    <a:pt x="150" y="749"/>
                    <a:pt x="147" y="756"/>
                    <a:pt x="146" y="764"/>
                  </a:cubicBezTo>
                  <a:moveTo>
                    <a:pt x="565" y="1169"/>
                  </a:moveTo>
                  <a:cubicBezTo>
                    <a:pt x="567" y="1152"/>
                    <a:pt x="564" y="1133"/>
                    <a:pt x="562" y="1116"/>
                  </a:cubicBezTo>
                  <a:cubicBezTo>
                    <a:pt x="561" y="1109"/>
                    <a:pt x="557" y="1103"/>
                    <a:pt x="563" y="1097"/>
                  </a:cubicBezTo>
                  <a:cubicBezTo>
                    <a:pt x="565" y="1095"/>
                    <a:pt x="571" y="1093"/>
                    <a:pt x="567" y="1088"/>
                  </a:cubicBezTo>
                  <a:cubicBezTo>
                    <a:pt x="564" y="1085"/>
                    <a:pt x="562" y="1087"/>
                    <a:pt x="561" y="1083"/>
                  </a:cubicBezTo>
                  <a:cubicBezTo>
                    <a:pt x="555" y="1062"/>
                    <a:pt x="549" y="1042"/>
                    <a:pt x="546" y="1020"/>
                  </a:cubicBezTo>
                  <a:cubicBezTo>
                    <a:pt x="543" y="994"/>
                    <a:pt x="534" y="969"/>
                    <a:pt x="535" y="943"/>
                  </a:cubicBezTo>
                  <a:cubicBezTo>
                    <a:pt x="535" y="924"/>
                    <a:pt x="533" y="904"/>
                    <a:pt x="533" y="885"/>
                  </a:cubicBezTo>
                  <a:cubicBezTo>
                    <a:pt x="533" y="863"/>
                    <a:pt x="534" y="840"/>
                    <a:pt x="534" y="817"/>
                  </a:cubicBezTo>
                  <a:cubicBezTo>
                    <a:pt x="534" y="797"/>
                    <a:pt x="533" y="778"/>
                    <a:pt x="534" y="758"/>
                  </a:cubicBezTo>
                  <a:cubicBezTo>
                    <a:pt x="534" y="750"/>
                    <a:pt x="534" y="741"/>
                    <a:pt x="535" y="733"/>
                  </a:cubicBezTo>
                  <a:cubicBezTo>
                    <a:pt x="536" y="728"/>
                    <a:pt x="537" y="722"/>
                    <a:pt x="537" y="717"/>
                  </a:cubicBezTo>
                  <a:cubicBezTo>
                    <a:pt x="537" y="715"/>
                    <a:pt x="537" y="710"/>
                    <a:pt x="538" y="709"/>
                  </a:cubicBezTo>
                  <a:cubicBezTo>
                    <a:pt x="537" y="710"/>
                    <a:pt x="545" y="727"/>
                    <a:pt x="546" y="729"/>
                  </a:cubicBezTo>
                  <a:cubicBezTo>
                    <a:pt x="549" y="739"/>
                    <a:pt x="549" y="749"/>
                    <a:pt x="550" y="760"/>
                  </a:cubicBezTo>
                  <a:cubicBezTo>
                    <a:pt x="550" y="769"/>
                    <a:pt x="551" y="778"/>
                    <a:pt x="553" y="787"/>
                  </a:cubicBezTo>
                  <a:cubicBezTo>
                    <a:pt x="555" y="799"/>
                    <a:pt x="553" y="810"/>
                    <a:pt x="555" y="822"/>
                  </a:cubicBezTo>
                  <a:cubicBezTo>
                    <a:pt x="556" y="836"/>
                    <a:pt x="554" y="848"/>
                    <a:pt x="554" y="862"/>
                  </a:cubicBezTo>
                  <a:cubicBezTo>
                    <a:pt x="553" y="874"/>
                    <a:pt x="555" y="887"/>
                    <a:pt x="557" y="899"/>
                  </a:cubicBezTo>
                  <a:cubicBezTo>
                    <a:pt x="558" y="908"/>
                    <a:pt x="559" y="916"/>
                    <a:pt x="562" y="925"/>
                  </a:cubicBezTo>
                  <a:cubicBezTo>
                    <a:pt x="566" y="936"/>
                    <a:pt x="565" y="952"/>
                    <a:pt x="566" y="964"/>
                  </a:cubicBezTo>
                  <a:cubicBezTo>
                    <a:pt x="566" y="978"/>
                    <a:pt x="572" y="989"/>
                    <a:pt x="573" y="1003"/>
                  </a:cubicBezTo>
                  <a:cubicBezTo>
                    <a:pt x="575" y="1015"/>
                    <a:pt x="575" y="1027"/>
                    <a:pt x="577" y="1038"/>
                  </a:cubicBezTo>
                  <a:cubicBezTo>
                    <a:pt x="579" y="1047"/>
                    <a:pt x="577" y="1053"/>
                    <a:pt x="575" y="1062"/>
                  </a:cubicBezTo>
                  <a:cubicBezTo>
                    <a:pt x="574" y="1072"/>
                    <a:pt x="580" y="1081"/>
                    <a:pt x="578" y="1090"/>
                  </a:cubicBezTo>
                  <a:cubicBezTo>
                    <a:pt x="578" y="1097"/>
                    <a:pt x="576" y="1103"/>
                    <a:pt x="576" y="1109"/>
                  </a:cubicBezTo>
                  <a:cubicBezTo>
                    <a:pt x="576" y="1115"/>
                    <a:pt x="578" y="1122"/>
                    <a:pt x="576" y="1127"/>
                  </a:cubicBezTo>
                  <a:cubicBezTo>
                    <a:pt x="574" y="1134"/>
                    <a:pt x="574" y="1136"/>
                    <a:pt x="578" y="1142"/>
                  </a:cubicBezTo>
                  <a:cubicBezTo>
                    <a:pt x="580" y="1144"/>
                    <a:pt x="584" y="1147"/>
                    <a:pt x="583" y="1150"/>
                  </a:cubicBezTo>
                  <a:cubicBezTo>
                    <a:pt x="582" y="1154"/>
                    <a:pt x="580" y="1158"/>
                    <a:pt x="578" y="1161"/>
                  </a:cubicBezTo>
                  <a:cubicBezTo>
                    <a:pt x="577" y="1163"/>
                    <a:pt x="571" y="1167"/>
                    <a:pt x="571" y="1167"/>
                  </a:cubicBezTo>
                  <a:cubicBezTo>
                    <a:pt x="571" y="1171"/>
                    <a:pt x="572" y="1173"/>
                    <a:pt x="568" y="1177"/>
                  </a:cubicBezTo>
                  <a:cubicBezTo>
                    <a:pt x="564" y="1180"/>
                    <a:pt x="565" y="1171"/>
                    <a:pt x="565" y="1169"/>
                  </a:cubicBezTo>
                  <a:moveTo>
                    <a:pt x="584" y="1252"/>
                  </a:moveTo>
                  <a:cubicBezTo>
                    <a:pt x="580" y="1259"/>
                    <a:pt x="583" y="1265"/>
                    <a:pt x="583" y="1271"/>
                  </a:cubicBezTo>
                  <a:cubicBezTo>
                    <a:pt x="583" y="1273"/>
                    <a:pt x="578" y="1289"/>
                    <a:pt x="579" y="1290"/>
                  </a:cubicBezTo>
                  <a:cubicBezTo>
                    <a:pt x="576" y="1288"/>
                    <a:pt x="576" y="1279"/>
                    <a:pt x="575" y="1276"/>
                  </a:cubicBezTo>
                  <a:cubicBezTo>
                    <a:pt x="574" y="1271"/>
                    <a:pt x="572" y="1266"/>
                    <a:pt x="572" y="1261"/>
                  </a:cubicBezTo>
                  <a:cubicBezTo>
                    <a:pt x="571" y="1257"/>
                    <a:pt x="569" y="1244"/>
                    <a:pt x="575" y="1242"/>
                  </a:cubicBezTo>
                  <a:cubicBezTo>
                    <a:pt x="577" y="1241"/>
                    <a:pt x="585" y="1249"/>
                    <a:pt x="584" y="1252"/>
                  </a:cubicBezTo>
                </a:path>
              </a:pathLst>
            </a:custGeom>
            <a:solidFill>
              <a:schemeClr val="tx1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  <p:txBody>
            <a:bodyPr lIns="428085" tIns="214043" rIns="428085" bIns="214043"/>
            <a:lstStyle/>
            <a:p>
              <a:pPr defTabSz="4280752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6000" kern="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grpSp>
          <p:nvGrpSpPr>
            <p:cNvPr id="604" name="Gruppieren 281">
              <a:extLst>
                <a:ext uri="{FF2B5EF4-FFF2-40B4-BE49-F238E27FC236}">
                  <a16:creationId xmlns:a16="http://schemas.microsoft.com/office/drawing/2014/main" id="{BBF5D62C-92CB-4F20-BB38-AFD9F1EE1EF4}"/>
                </a:ext>
              </a:extLst>
            </p:cNvPr>
            <p:cNvGrpSpPr/>
            <p:nvPr/>
          </p:nvGrpSpPr>
          <p:grpSpPr>
            <a:xfrm>
              <a:off x="2413040" y="758012"/>
              <a:ext cx="159492" cy="328959"/>
              <a:chOff x="2519371" y="955678"/>
              <a:chExt cx="1695457" cy="4968890"/>
            </a:xfrm>
            <a:solidFill>
              <a:schemeClr val="tx1"/>
            </a:solidFill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grpSpPr>
          <p:sp>
            <p:nvSpPr>
              <p:cNvPr id="605" name="Freeform 156">
                <a:extLst>
                  <a:ext uri="{FF2B5EF4-FFF2-40B4-BE49-F238E27FC236}">
                    <a16:creationId xmlns:a16="http://schemas.microsoft.com/office/drawing/2014/main" id="{08922223-3064-48F0-8FEA-50AA1B751E7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84626" y="3435360"/>
                <a:ext cx="269878" cy="404813"/>
              </a:xfrm>
              <a:custGeom>
                <a:avLst/>
                <a:gdLst>
                  <a:gd name="T0" fmla="*/ 29 w 72"/>
                  <a:gd name="T1" fmla="*/ 0 h 108"/>
                  <a:gd name="T2" fmla="*/ 37 w 72"/>
                  <a:gd name="T3" fmla="*/ 0 h 108"/>
                  <a:gd name="T4" fmla="*/ 68 w 72"/>
                  <a:gd name="T5" fmla="*/ 6 h 108"/>
                  <a:gd name="T6" fmla="*/ 70 w 72"/>
                  <a:gd name="T7" fmla="*/ 58 h 108"/>
                  <a:gd name="T8" fmla="*/ 60 w 72"/>
                  <a:gd name="T9" fmla="*/ 78 h 108"/>
                  <a:gd name="T10" fmla="*/ 14 w 72"/>
                  <a:gd name="T11" fmla="*/ 108 h 108"/>
                  <a:gd name="T12" fmla="*/ 5 w 72"/>
                  <a:gd name="T13" fmla="*/ 102 h 108"/>
                  <a:gd name="T14" fmla="*/ 13 w 72"/>
                  <a:gd name="T15" fmla="*/ 80 h 108"/>
                  <a:gd name="T16" fmla="*/ 15 w 72"/>
                  <a:gd name="T17" fmla="*/ 6 h 108"/>
                  <a:gd name="T18" fmla="*/ 29 w 72"/>
                  <a:gd name="T19" fmla="*/ 0 h 108"/>
                  <a:gd name="T20" fmla="*/ 28 w 72"/>
                  <a:gd name="T21" fmla="*/ 81 h 108"/>
                  <a:gd name="T22" fmla="*/ 41 w 72"/>
                  <a:gd name="T23" fmla="*/ 53 h 108"/>
                  <a:gd name="T24" fmla="*/ 33 w 72"/>
                  <a:gd name="T25" fmla="*/ 51 h 108"/>
                  <a:gd name="T26" fmla="*/ 28 w 72"/>
                  <a:gd name="T27" fmla="*/ 81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2" h="108">
                    <a:moveTo>
                      <a:pt x="29" y="0"/>
                    </a:moveTo>
                    <a:cubicBezTo>
                      <a:pt x="32" y="0"/>
                      <a:pt x="34" y="0"/>
                      <a:pt x="37" y="0"/>
                    </a:cubicBezTo>
                    <a:cubicBezTo>
                      <a:pt x="45" y="3"/>
                      <a:pt x="60" y="2"/>
                      <a:pt x="68" y="6"/>
                    </a:cubicBezTo>
                    <a:cubicBezTo>
                      <a:pt x="67" y="23"/>
                      <a:pt x="72" y="43"/>
                      <a:pt x="70" y="58"/>
                    </a:cubicBezTo>
                    <a:cubicBezTo>
                      <a:pt x="68" y="65"/>
                      <a:pt x="63" y="72"/>
                      <a:pt x="60" y="78"/>
                    </a:cubicBezTo>
                    <a:cubicBezTo>
                      <a:pt x="49" y="98"/>
                      <a:pt x="39" y="102"/>
                      <a:pt x="14" y="108"/>
                    </a:cubicBezTo>
                    <a:cubicBezTo>
                      <a:pt x="17" y="101"/>
                      <a:pt x="5" y="107"/>
                      <a:pt x="5" y="102"/>
                    </a:cubicBezTo>
                    <a:cubicBezTo>
                      <a:pt x="0" y="90"/>
                      <a:pt x="6" y="87"/>
                      <a:pt x="13" y="80"/>
                    </a:cubicBezTo>
                    <a:cubicBezTo>
                      <a:pt x="15" y="57"/>
                      <a:pt x="13" y="28"/>
                      <a:pt x="15" y="6"/>
                    </a:cubicBezTo>
                    <a:cubicBezTo>
                      <a:pt x="20" y="3"/>
                      <a:pt x="29" y="6"/>
                      <a:pt x="29" y="0"/>
                    </a:cubicBezTo>
                    <a:close/>
                    <a:moveTo>
                      <a:pt x="28" y="81"/>
                    </a:moveTo>
                    <a:cubicBezTo>
                      <a:pt x="41" y="81"/>
                      <a:pt x="43" y="67"/>
                      <a:pt x="41" y="53"/>
                    </a:cubicBezTo>
                    <a:cubicBezTo>
                      <a:pt x="37" y="54"/>
                      <a:pt x="37" y="51"/>
                      <a:pt x="33" y="51"/>
                    </a:cubicBezTo>
                    <a:cubicBezTo>
                      <a:pt x="30" y="61"/>
                      <a:pt x="32" y="75"/>
                      <a:pt x="28" y="8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06" name="Freeform 159">
                <a:extLst>
                  <a:ext uri="{FF2B5EF4-FFF2-40B4-BE49-F238E27FC236}">
                    <a16:creationId xmlns:a16="http://schemas.microsoft.com/office/drawing/2014/main" id="{BE7F0460-9D90-47EA-B079-49CCAC870F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9775" y="5519755"/>
                <a:ext cx="539752" cy="404813"/>
              </a:xfrm>
              <a:custGeom>
                <a:avLst/>
                <a:gdLst>
                  <a:gd name="T0" fmla="*/ 19 w 144"/>
                  <a:gd name="T1" fmla="*/ 0 h 108"/>
                  <a:gd name="T2" fmla="*/ 21 w 144"/>
                  <a:gd name="T3" fmla="*/ 0 h 108"/>
                  <a:gd name="T4" fmla="*/ 55 w 144"/>
                  <a:gd name="T5" fmla="*/ 19 h 108"/>
                  <a:gd name="T6" fmla="*/ 139 w 144"/>
                  <a:gd name="T7" fmla="*/ 47 h 108"/>
                  <a:gd name="T8" fmla="*/ 144 w 144"/>
                  <a:gd name="T9" fmla="*/ 62 h 108"/>
                  <a:gd name="T10" fmla="*/ 144 w 144"/>
                  <a:gd name="T11" fmla="*/ 66 h 108"/>
                  <a:gd name="T12" fmla="*/ 137 w 144"/>
                  <a:gd name="T13" fmla="*/ 88 h 108"/>
                  <a:gd name="T14" fmla="*/ 105 w 144"/>
                  <a:gd name="T15" fmla="*/ 91 h 108"/>
                  <a:gd name="T16" fmla="*/ 100 w 144"/>
                  <a:gd name="T17" fmla="*/ 103 h 108"/>
                  <a:gd name="T18" fmla="*/ 90 w 144"/>
                  <a:gd name="T19" fmla="*/ 108 h 108"/>
                  <a:gd name="T20" fmla="*/ 82 w 144"/>
                  <a:gd name="T21" fmla="*/ 108 h 108"/>
                  <a:gd name="T22" fmla="*/ 31 w 144"/>
                  <a:gd name="T23" fmla="*/ 100 h 108"/>
                  <a:gd name="T24" fmla="*/ 32 w 144"/>
                  <a:gd name="T25" fmla="*/ 73 h 108"/>
                  <a:gd name="T26" fmla="*/ 0 w 144"/>
                  <a:gd name="T27" fmla="*/ 65 h 108"/>
                  <a:gd name="T28" fmla="*/ 0 w 144"/>
                  <a:gd name="T29" fmla="*/ 51 h 108"/>
                  <a:gd name="T30" fmla="*/ 11 w 144"/>
                  <a:gd name="T31" fmla="*/ 12 h 108"/>
                  <a:gd name="T32" fmla="*/ 19 w 144"/>
                  <a:gd name="T33" fmla="*/ 0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4" h="108">
                    <a:moveTo>
                      <a:pt x="19" y="0"/>
                    </a:moveTo>
                    <a:cubicBezTo>
                      <a:pt x="19" y="0"/>
                      <a:pt x="20" y="0"/>
                      <a:pt x="21" y="0"/>
                    </a:cubicBezTo>
                    <a:cubicBezTo>
                      <a:pt x="33" y="7"/>
                      <a:pt x="45" y="13"/>
                      <a:pt x="55" y="19"/>
                    </a:cubicBezTo>
                    <a:cubicBezTo>
                      <a:pt x="92" y="2"/>
                      <a:pt x="120" y="31"/>
                      <a:pt x="139" y="47"/>
                    </a:cubicBezTo>
                    <a:cubicBezTo>
                      <a:pt x="141" y="52"/>
                      <a:pt x="141" y="58"/>
                      <a:pt x="144" y="62"/>
                    </a:cubicBezTo>
                    <a:cubicBezTo>
                      <a:pt x="144" y="63"/>
                      <a:pt x="144" y="65"/>
                      <a:pt x="144" y="66"/>
                    </a:cubicBezTo>
                    <a:cubicBezTo>
                      <a:pt x="142" y="75"/>
                      <a:pt x="141" y="83"/>
                      <a:pt x="137" y="88"/>
                    </a:cubicBezTo>
                    <a:cubicBezTo>
                      <a:pt x="124" y="87"/>
                      <a:pt x="117" y="91"/>
                      <a:pt x="105" y="91"/>
                    </a:cubicBezTo>
                    <a:cubicBezTo>
                      <a:pt x="99" y="91"/>
                      <a:pt x="104" y="101"/>
                      <a:pt x="100" y="103"/>
                    </a:cubicBezTo>
                    <a:cubicBezTo>
                      <a:pt x="96" y="105"/>
                      <a:pt x="91" y="106"/>
                      <a:pt x="90" y="108"/>
                    </a:cubicBezTo>
                    <a:cubicBezTo>
                      <a:pt x="87" y="108"/>
                      <a:pt x="84" y="108"/>
                      <a:pt x="82" y="108"/>
                    </a:cubicBezTo>
                    <a:cubicBezTo>
                      <a:pt x="66" y="105"/>
                      <a:pt x="41" y="108"/>
                      <a:pt x="31" y="100"/>
                    </a:cubicBezTo>
                    <a:cubicBezTo>
                      <a:pt x="27" y="90"/>
                      <a:pt x="33" y="85"/>
                      <a:pt x="32" y="73"/>
                    </a:cubicBezTo>
                    <a:cubicBezTo>
                      <a:pt x="23" y="75"/>
                      <a:pt x="8" y="71"/>
                      <a:pt x="0" y="65"/>
                    </a:cubicBezTo>
                    <a:cubicBezTo>
                      <a:pt x="0" y="61"/>
                      <a:pt x="0" y="56"/>
                      <a:pt x="0" y="51"/>
                    </a:cubicBezTo>
                    <a:cubicBezTo>
                      <a:pt x="6" y="39"/>
                      <a:pt x="14" y="27"/>
                      <a:pt x="11" y="12"/>
                    </a:cubicBezTo>
                    <a:cubicBezTo>
                      <a:pt x="11" y="7"/>
                      <a:pt x="18" y="6"/>
                      <a:pt x="19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07" name="Freeform 160">
                <a:extLst>
                  <a:ext uri="{FF2B5EF4-FFF2-40B4-BE49-F238E27FC236}">
                    <a16:creationId xmlns:a16="http://schemas.microsoft.com/office/drawing/2014/main" id="{49A6D62B-8229-4409-A1F4-C46FC20E7B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014673"/>
                <a:ext cx="1109668" cy="2805120"/>
              </a:xfrm>
              <a:custGeom>
                <a:avLst/>
                <a:gdLst>
                  <a:gd name="T0" fmla="*/ 0 w 296"/>
                  <a:gd name="T1" fmla="*/ 188 h 748"/>
                  <a:gd name="T2" fmla="*/ 0 w 296"/>
                  <a:gd name="T3" fmla="*/ 183 h 748"/>
                  <a:gd name="T4" fmla="*/ 12 w 296"/>
                  <a:gd name="T5" fmla="*/ 166 h 748"/>
                  <a:gd name="T6" fmla="*/ 103 w 296"/>
                  <a:gd name="T7" fmla="*/ 169 h 748"/>
                  <a:gd name="T8" fmla="*/ 143 w 296"/>
                  <a:gd name="T9" fmla="*/ 9 h 748"/>
                  <a:gd name="T10" fmla="*/ 191 w 296"/>
                  <a:gd name="T11" fmla="*/ 11 h 748"/>
                  <a:gd name="T12" fmla="*/ 225 w 296"/>
                  <a:gd name="T13" fmla="*/ 112 h 748"/>
                  <a:gd name="T14" fmla="*/ 245 w 296"/>
                  <a:gd name="T15" fmla="*/ 133 h 748"/>
                  <a:gd name="T16" fmla="*/ 268 w 296"/>
                  <a:gd name="T17" fmla="*/ 153 h 748"/>
                  <a:gd name="T18" fmla="*/ 296 w 296"/>
                  <a:gd name="T19" fmla="*/ 153 h 748"/>
                  <a:gd name="T20" fmla="*/ 275 w 296"/>
                  <a:gd name="T21" fmla="*/ 276 h 748"/>
                  <a:gd name="T22" fmla="*/ 268 w 296"/>
                  <a:gd name="T23" fmla="*/ 288 h 748"/>
                  <a:gd name="T24" fmla="*/ 264 w 296"/>
                  <a:gd name="T25" fmla="*/ 303 h 748"/>
                  <a:gd name="T26" fmla="*/ 253 w 296"/>
                  <a:gd name="T27" fmla="*/ 328 h 748"/>
                  <a:gd name="T28" fmla="*/ 256 w 296"/>
                  <a:gd name="T29" fmla="*/ 354 h 748"/>
                  <a:gd name="T30" fmla="*/ 252 w 296"/>
                  <a:gd name="T31" fmla="*/ 418 h 748"/>
                  <a:gd name="T32" fmla="*/ 249 w 296"/>
                  <a:gd name="T33" fmla="*/ 514 h 748"/>
                  <a:gd name="T34" fmla="*/ 237 w 296"/>
                  <a:gd name="T35" fmla="*/ 577 h 748"/>
                  <a:gd name="T36" fmla="*/ 223 w 296"/>
                  <a:gd name="T37" fmla="*/ 604 h 748"/>
                  <a:gd name="T38" fmla="*/ 215 w 296"/>
                  <a:gd name="T39" fmla="*/ 633 h 748"/>
                  <a:gd name="T40" fmla="*/ 207 w 296"/>
                  <a:gd name="T41" fmla="*/ 662 h 748"/>
                  <a:gd name="T42" fmla="*/ 222 w 296"/>
                  <a:gd name="T43" fmla="*/ 707 h 748"/>
                  <a:gd name="T44" fmla="*/ 182 w 296"/>
                  <a:gd name="T45" fmla="*/ 689 h 748"/>
                  <a:gd name="T46" fmla="*/ 122 w 296"/>
                  <a:gd name="T47" fmla="*/ 748 h 748"/>
                  <a:gd name="T48" fmla="*/ 114 w 296"/>
                  <a:gd name="T49" fmla="*/ 677 h 748"/>
                  <a:gd name="T50" fmla="*/ 97 w 296"/>
                  <a:gd name="T51" fmla="*/ 672 h 748"/>
                  <a:gd name="T52" fmla="*/ 97 w 296"/>
                  <a:gd name="T53" fmla="*/ 609 h 748"/>
                  <a:gd name="T54" fmla="*/ 86 w 296"/>
                  <a:gd name="T55" fmla="*/ 588 h 748"/>
                  <a:gd name="T56" fmla="*/ 64 w 296"/>
                  <a:gd name="T57" fmla="*/ 525 h 748"/>
                  <a:gd name="T58" fmla="*/ 35 w 296"/>
                  <a:gd name="T59" fmla="*/ 383 h 748"/>
                  <a:gd name="T60" fmla="*/ 19 w 296"/>
                  <a:gd name="T61" fmla="*/ 285 h 748"/>
                  <a:gd name="T62" fmla="*/ 0 w 296"/>
                  <a:gd name="T63" fmla="*/ 188 h 7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96" h="748">
                    <a:moveTo>
                      <a:pt x="0" y="188"/>
                    </a:moveTo>
                    <a:cubicBezTo>
                      <a:pt x="0" y="186"/>
                      <a:pt x="0" y="185"/>
                      <a:pt x="0" y="183"/>
                    </a:cubicBezTo>
                    <a:cubicBezTo>
                      <a:pt x="6" y="178"/>
                      <a:pt x="6" y="168"/>
                      <a:pt x="12" y="166"/>
                    </a:cubicBezTo>
                    <a:cubicBezTo>
                      <a:pt x="37" y="176"/>
                      <a:pt x="73" y="176"/>
                      <a:pt x="103" y="169"/>
                    </a:cubicBezTo>
                    <a:cubicBezTo>
                      <a:pt x="116" y="117"/>
                      <a:pt x="127" y="60"/>
                      <a:pt x="143" y="9"/>
                    </a:cubicBezTo>
                    <a:cubicBezTo>
                      <a:pt x="158" y="0"/>
                      <a:pt x="177" y="2"/>
                      <a:pt x="191" y="11"/>
                    </a:cubicBezTo>
                    <a:cubicBezTo>
                      <a:pt x="204" y="36"/>
                      <a:pt x="210" y="83"/>
                      <a:pt x="225" y="112"/>
                    </a:cubicBezTo>
                    <a:cubicBezTo>
                      <a:pt x="229" y="119"/>
                      <a:pt x="237" y="125"/>
                      <a:pt x="245" y="133"/>
                    </a:cubicBezTo>
                    <a:cubicBezTo>
                      <a:pt x="252" y="140"/>
                      <a:pt x="260" y="152"/>
                      <a:pt x="268" y="153"/>
                    </a:cubicBezTo>
                    <a:cubicBezTo>
                      <a:pt x="277" y="155"/>
                      <a:pt x="286" y="149"/>
                      <a:pt x="296" y="153"/>
                    </a:cubicBezTo>
                    <a:cubicBezTo>
                      <a:pt x="291" y="195"/>
                      <a:pt x="275" y="228"/>
                      <a:pt x="275" y="276"/>
                    </a:cubicBezTo>
                    <a:cubicBezTo>
                      <a:pt x="273" y="281"/>
                      <a:pt x="269" y="281"/>
                      <a:pt x="268" y="288"/>
                    </a:cubicBezTo>
                    <a:cubicBezTo>
                      <a:pt x="265" y="291"/>
                      <a:pt x="265" y="298"/>
                      <a:pt x="264" y="303"/>
                    </a:cubicBezTo>
                    <a:cubicBezTo>
                      <a:pt x="261" y="312"/>
                      <a:pt x="253" y="318"/>
                      <a:pt x="253" y="328"/>
                    </a:cubicBezTo>
                    <a:cubicBezTo>
                      <a:pt x="252" y="336"/>
                      <a:pt x="256" y="345"/>
                      <a:pt x="256" y="354"/>
                    </a:cubicBezTo>
                    <a:cubicBezTo>
                      <a:pt x="258" y="380"/>
                      <a:pt x="258" y="399"/>
                      <a:pt x="252" y="418"/>
                    </a:cubicBezTo>
                    <a:cubicBezTo>
                      <a:pt x="266" y="448"/>
                      <a:pt x="257" y="479"/>
                      <a:pt x="249" y="514"/>
                    </a:cubicBezTo>
                    <a:cubicBezTo>
                      <a:pt x="245" y="536"/>
                      <a:pt x="243" y="559"/>
                      <a:pt x="237" y="577"/>
                    </a:cubicBezTo>
                    <a:cubicBezTo>
                      <a:pt x="233" y="586"/>
                      <a:pt x="227" y="595"/>
                      <a:pt x="223" y="604"/>
                    </a:cubicBezTo>
                    <a:cubicBezTo>
                      <a:pt x="220" y="611"/>
                      <a:pt x="218" y="623"/>
                      <a:pt x="215" y="633"/>
                    </a:cubicBezTo>
                    <a:cubicBezTo>
                      <a:pt x="212" y="644"/>
                      <a:pt x="207" y="656"/>
                      <a:pt x="207" y="662"/>
                    </a:cubicBezTo>
                    <a:cubicBezTo>
                      <a:pt x="208" y="675"/>
                      <a:pt x="224" y="690"/>
                      <a:pt x="222" y="707"/>
                    </a:cubicBezTo>
                    <a:cubicBezTo>
                      <a:pt x="203" y="705"/>
                      <a:pt x="197" y="690"/>
                      <a:pt x="182" y="689"/>
                    </a:cubicBezTo>
                    <a:cubicBezTo>
                      <a:pt x="141" y="688"/>
                      <a:pt x="137" y="726"/>
                      <a:pt x="122" y="748"/>
                    </a:cubicBezTo>
                    <a:cubicBezTo>
                      <a:pt x="120" y="724"/>
                      <a:pt x="115" y="702"/>
                      <a:pt x="114" y="677"/>
                    </a:cubicBezTo>
                    <a:cubicBezTo>
                      <a:pt x="108" y="676"/>
                      <a:pt x="99" y="684"/>
                      <a:pt x="97" y="672"/>
                    </a:cubicBezTo>
                    <a:cubicBezTo>
                      <a:pt x="64" y="661"/>
                      <a:pt x="98" y="627"/>
                      <a:pt x="97" y="609"/>
                    </a:cubicBezTo>
                    <a:cubicBezTo>
                      <a:pt x="97" y="602"/>
                      <a:pt x="90" y="595"/>
                      <a:pt x="86" y="588"/>
                    </a:cubicBezTo>
                    <a:cubicBezTo>
                      <a:pt x="74" y="569"/>
                      <a:pt x="70" y="549"/>
                      <a:pt x="64" y="525"/>
                    </a:cubicBezTo>
                    <a:cubicBezTo>
                      <a:pt x="52" y="479"/>
                      <a:pt x="45" y="432"/>
                      <a:pt x="35" y="383"/>
                    </a:cubicBezTo>
                    <a:cubicBezTo>
                      <a:pt x="28" y="351"/>
                      <a:pt x="22" y="318"/>
                      <a:pt x="19" y="285"/>
                    </a:cubicBezTo>
                    <a:cubicBezTo>
                      <a:pt x="18" y="251"/>
                      <a:pt x="7" y="214"/>
                      <a:pt x="0" y="188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08" name="Freeform 179">
                <a:extLst>
                  <a:ext uri="{FF2B5EF4-FFF2-40B4-BE49-F238E27FC236}">
                    <a16:creationId xmlns:a16="http://schemas.microsoft.com/office/drawing/2014/main" id="{2BE9FF65-0AD3-4FAA-98EC-67ADDB5909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4413" y="3113098"/>
                <a:ext cx="452441" cy="569916"/>
              </a:xfrm>
              <a:custGeom>
                <a:avLst/>
                <a:gdLst>
                  <a:gd name="T0" fmla="*/ 0 w 285"/>
                  <a:gd name="T1" fmla="*/ 0 h 359"/>
                  <a:gd name="T2" fmla="*/ 14 w 285"/>
                  <a:gd name="T3" fmla="*/ 96 h 359"/>
                  <a:gd name="T4" fmla="*/ 108 w 285"/>
                  <a:gd name="T5" fmla="*/ 330 h 359"/>
                  <a:gd name="T6" fmla="*/ 285 w 285"/>
                  <a:gd name="T7" fmla="*/ 359 h 359"/>
                  <a:gd name="T8" fmla="*/ 285 w 285"/>
                  <a:gd name="T9" fmla="*/ 311 h 359"/>
                  <a:gd name="T10" fmla="*/ 0 w 285"/>
                  <a:gd name="T11" fmla="*/ 0 h 3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5" h="359">
                    <a:moveTo>
                      <a:pt x="0" y="0"/>
                    </a:moveTo>
                    <a:lnTo>
                      <a:pt x="14" y="96"/>
                    </a:lnTo>
                    <a:lnTo>
                      <a:pt x="108" y="330"/>
                    </a:lnTo>
                    <a:lnTo>
                      <a:pt x="285" y="359"/>
                    </a:lnTo>
                    <a:lnTo>
                      <a:pt x="285" y="31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09" name="Freeform 180">
                <a:extLst>
                  <a:ext uri="{FF2B5EF4-FFF2-40B4-BE49-F238E27FC236}">
                    <a16:creationId xmlns:a16="http://schemas.microsoft.com/office/drawing/2014/main" id="{36E646C7-4876-4BC6-BAFB-36DD8ABC1C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146435"/>
                <a:ext cx="592139" cy="619126"/>
              </a:xfrm>
              <a:custGeom>
                <a:avLst/>
                <a:gdLst>
                  <a:gd name="T0" fmla="*/ 158 w 158"/>
                  <a:gd name="T1" fmla="*/ 0 h 165"/>
                  <a:gd name="T2" fmla="*/ 158 w 158"/>
                  <a:gd name="T3" fmla="*/ 80 h 165"/>
                  <a:gd name="T4" fmla="*/ 113 w 158"/>
                  <a:gd name="T5" fmla="*/ 158 h 165"/>
                  <a:gd name="T6" fmla="*/ 23 w 158"/>
                  <a:gd name="T7" fmla="*/ 156 h 165"/>
                  <a:gd name="T8" fmla="*/ 0 w 158"/>
                  <a:gd name="T9" fmla="*/ 148 h 165"/>
                  <a:gd name="T10" fmla="*/ 87 w 158"/>
                  <a:gd name="T11" fmla="*/ 137 h 165"/>
                  <a:gd name="T12" fmla="*/ 158 w 158"/>
                  <a:gd name="T13" fmla="*/ 0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8" h="165">
                    <a:moveTo>
                      <a:pt x="158" y="0"/>
                    </a:moveTo>
                    <a:cubicBezTo>
                      <a:pt x="158" y="80"/>
                      <a:pt x="158" y="80"/>
                      <a:pt x="158" y="80"/>
                    </a:cubicBezTo>
                    <a:cubicBezTo>
                      <a:pt x="158" y="80"/>
                      <a:pt x="139" y="165"/>
                      <a:pt x="113" y="158"/>
                    </a:cubicBezTo>
                    <a:cubicBezTo>
                      <a:pt x="87" y="152"/>
                      <a:pt x="26" y="157"/>
                      <a:pt x="23" y="156"/>
                    </a:cubicBezTo>
                    <a:cubicBezTo>
                      <a:pt x="20" y="156"/>
                      <a:pt x="0" y="148"/>
                      <a:pt x="0" y="148"/>
                    </a:cubicBezTo>
                    <a:cubicBezTo>
                      <a:pt x="0" y="148"/>
                      <a:pt x="82" y="138"/>
                      <a:pt x="87" y="137"/>
                    </a:cubicBezTo>
                    <a:cubicBezTo>
                      <a:pt x="92" y="136"/>
                      <a:pt x="158" y="0"/>
                      <a:pt x="1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10" name="Freeform 181">
                <a:extLst>
                  <a:ext uri="{FF2B5EF4-FFF2-40B4-BE49-F238E27FC236}">
                    <a16:creationId xmlns:a16="http://schemas.microsoft.com/office/drawing/2014/main" id="{20F5FBA6-A430-41F5-AD36-50123712F3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9813" y="3446473"/>
                <a:ext cx="63501" cy="423863"/>
              </a:xfrm>
              <a:custGeom>
                <a:avLst/>
                <a:gdLst>
                  <a:gd name="T0" fmla="*/ 0 w 40"/>
                  <a:gd name="T1" fmla="*/ 0 h 267"/>
                  <a:gd name="T2" fmla="*/ 0 w 40"/>
                  <a:gd name="T3" fmla="*/ 267 h 267"/>
                  <a:gd name="T4" fmla="*/ 40 w 40"/>
                  <a:gd name="T5" fmla="*/ 260 h 267"/>
                  <a:gd name="T6" fmla="*/ 0 w 40"/>
                  <a:gd name="T7" fmla="*/ 0 h 2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0" h="267">
                    <a:moveTo>
                      <a:pt x="0" y="0"/>
                    </a:moveTo>
                    <a:lnTo>
                      <a:pt x="0" y="267"/>
                    </a:lnTo>
                    <a:lnTo>
                      <a:pt x="40" y="26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11" name="Freeform 182">
                <a:extLst>
                  <a:ext uri="{FF2B5EF4-FFF2-40B4-BE49-F238E27FC236}">
                    <a16:creationId xmlns:a16="http://schemas.microsoft.com/office/drawing/2014/main" id="{AFFC8D56-8E81-4DB7-9711-C5CB04661E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48036" y="3884623"/>
                <a:ext cx="217490" cy="1497016"/>
              </a:xfrm>
              <a:custGeom>
                <a:avLst/>
                <a:gdLst>
                  <a:gd name="T0" fmla="*/ 58 w 58"/>
                  <a:gd name="T1" fmla="*/ 0 h 399"/>
                  <a:gd name="T2" fmla="*/ 6 w 58"/>
                  <a:gd name="T3" fmla="*/ 369 h 399"/>
                  <a:gd name="T4" fmla="*/ 0 w 58"/>
                  <a:gd name="T5" fmla="*/ 399 h 399"/>
                  <a:gd name="T6" fmla="*/ 34 w 58"/>
                  <a:gd name="T7" fmla="*/ 312 h 399"/>
                  <a:gd name="T8" fmla="*/ 29 w 58"/>
                  <a:gd name="T9" fmla="*/ 255 h 399"/>
                  <a:gd name="T10" fmla="*/ 48 w 58"/>
                  <a:gd name="T11" fmla="*/ 139 h 399"/>
                  <a:gd name="T12" fmla="*/ 58 w 58"/>
                  <a:gd name="T13" fmla="*/ 0 h 3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8" h="399">
                    <a:moveTo>
                      <a:pt x="58" y="0"/>
                    </a:moveTo>
                    <a:cubicBezTo>
                      <a:pt x="6" y="369"/>
                      <a:pt x="6" y="369"/>
                      <a:pt x="6" y="369"/>
                    </a:cubicBezTo>
                    <a:cubicBezTo>
                      <a:pt x="0" y="399"/>
                      <a:pt x="0" y="399"/>
                      <a:pt x="0" y="399"/>
                    </a:cubicBezTo>
                    <a:cubicBezTo>
                      <a:pt x="0" y="399"/>
                      <a:pt x="36" y="342"/>
                      <a:pt x="34" y="312"/>
                    </a:cubicBezTo>
                    <a:cubicBezTo>
                      <a:pt x="32" y="282"/>
                      <a:pt x="28" y="282"/>
                      <a:pt x="29" y="255"/>
                    </a:cubicBezTo>
                    <a:cubicBezTo>
                      <a:pt x="31" y="227"/>
                      <a:pt x="46" y="145"/>
                      <a:pt x="48" y="139"/>
                    </a:cubicBezTo>
                    <a:cubicBezTo>
                      <a:pt x="50" y="132"/>
                      <a:pt x="58" y="0"/>
                      <a:pt x="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12" name="Freeform 183">
                <a:extLst>
                  <a:ext uri="{FF2B5EF4-FFF2-40B4-BE49-F238E27FC236}">
                    <a16:creationId xmlns:a16="http://schemas.microsoft.com/office/drawing/2014/main" id="{F7B2C478-D9FB-46B1-A4DD-20765C29AF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3802" y="4038612"/>
                <a:ext cx="231777" cy="385763"/>
              </a:xfrm>
              <a:custGeom>
                <a:avLst/>
                <a:gdLst>
                  <a:gd name="T0" fmla="*/ 62 w 62"/>
                  <a:gd name="T1" fmla="*/ 0 h 103"/>
                  <a:gd name="T2" fmla="*/ 35 w 62"/>
                  <a:gd name="T3" fmla="*/ 31 h 103"/>
                  <a:gd name="T4" fmla="*/ 27 w 62"/>
                  <a:gd name="T5" fmla="*/ 66 h 103"/>
                  <a:gd name="T6" fmla="*/ 6 w 62"/>
                  <a:gd name="T7" fmla="*/ 79 h 103"/>
                  <a:gd name="T8" fmla="*/ 23 w 62"/>
                  <a:gd name="T9" fmla="*/ 30 h 103"/>
                  <a:gd name="T10" fmla="*/ 62 w 62"/>
                  <a:gd name="T11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2" h="103">
                    <a:moveTo>
                      <a:pt x="62" y="0"/>
                    </a:moveTo>
                    <a:cubicBezTo>
                      <a:pt x="62" y="0"/>
                      <a:pt x="37" y="20"/>
                      <a:pt x="35" y="31"/>
                    </a:cubicBezTo>
                    <a:cubicBezTo>
                      <a:pt x="33" y="42"/>
                      <a:pt x="25" y="75"/>
                      <a:pt x="27" y="66"/>
                    </a:cubicBezTo>
                    <a:cubicBezTo>
                      <a:pt x="28" y="58"/>
                      <a:pt x="0" y="103"/>
                      <a:pt x="6" y="79"/>
                    </a:cubicBezTo>
                    <a:cubicBezTo>
                      <a:pt x="12" y="55"/>
                      <a:pt x="14" y="48"/>
                      <a:pt x="23" y="30"/>
                    </a:cubicBezTo>
                    <a:cubicBezTo>
                      <a:pt x="33" y="12"/>
                      <a:pt x="62" y="0"/>
                      <a:pt x="62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13" name="Freeform 184">
                <a:extLst>
                  <a:ext uri="{FF2B5EF4-FFF2-40B4-BE49-F238E27FC236}">
                    <a16:creationId xmlns:a16="http://schemas.microsoft.com/office/drawing/2014/main" id="{09540C02-439B-4C9C-B06E-3FE3E73D12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5862" y="4581537"/>
                <a:ext cx="153989" cy="434977"/>
              </a:xfrm>
              <a:custGeom>
                <a:avLst/>
                <a:gdLst>
                  <a:gd name="T0" fmla="*/ 41 w 41"/>
                  <a:gd name="T1" fmla="*/ 0 h 116"/>
                  <a:gd name="T2" fmla="*/ 25 w 41"/>
                  <a:gd name="T3" fmla="*/ 47 h 116"/>
                  <a:gd name="T4" fmla="*/ 7 w 41"/>
                  <a:gd name="T5" fmla="*/ 85 h 116"/>
                  <a:gd name="T6" fmla="*/ 36 w 41"/>
                  <a:gd name="T7" fmla="*/ 0 h 116"/>
                  <a:gd name="T8" fmla="*/ 41 w 41"/>
                  <a:gd name="T9" fmla="*/ 0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116">
                    <a:moveTo>
                      <a:pt x="41" y="0"/>
                    </a:moveTo>
                    <a:cubicBezTo>
                      <a:pt x="38" y="8"/>
                      <a:pt x="33" y="18"/>
                      <a:pt x="25" y="47"/>
                    </a:cubicBezTo>
                    <a:cubicBezTo>
                      <a:pt x="17" y="75"/>
                      <a:pt x="0" y="116"/>
                      <a:pt x="7" y="85"/>
                    </a:cubicBezTo>
                    <a:cubicBezTo>
                      <a:pt x="15" y="53"/>
                      <a:pt x="31" y="0"/>
                      <a:pt x="36" y="0"/>
                    </a:cubicBezTo>
                    <a:cubicBezTo>
                      <a:pt x="41" y="0"/>
                      <a:pt x="41" y="0"/>
                      <a:pt x="41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14" name="Freeform 185">
                <a:extLst>
                  <a:ext uri="{FF2B5EF4-FFF2-40B4-BE49-F238E27FC236}">
                    <a16:creationId xmlns:a16="http://schemas.microsoft.com/office/drawing/2014/main" id="{9999D37E-0B7A-49BE-9C05-7A4F9A6746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5988" y="5470541"/>
                <a:ext cx="274638" cy="165099"/>
              </a:xfrm>
              <a:custGeom>
                <a:avLst/>
                <a:gdLst>
                  <a:gd name="T0" fmla="*/ 0 w 73"/>
                  <a:gd name="T1" fmla="*/ 41 h 44"/>
                  <a:gd name="T2" fmla="*/ 37 w 73"/>
                  <a:gd name="T3" fmla="*/ 29 h 44"/>
                  <a:gd name="T4" fmla="*/ 68 w 73"/>
                  <a:gd name="T5" fmla="*/ 29 h 44"/>
                  <a:gd name="T6" fmla="*/ 50 w 73"/>
                  <a:gd name="T7" fmla="*/ 0 h 44"/>
                  <a:gd name="T8" fmla="*/ 0 w 73"/>
                  <a:gd name="T9" fmla="*/ 41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3" h="44">
                    <a:moveTo>
                      <a:pt x="0" y="41"/>
                    </a:moveTo>
                    <a:cubicBezTo>
                      <a:pt x="0" y="41"/>
                      <a:pt x="8" y="27"/>
                      <a:pt x="37" y="29"/>
                    </a:cubicBezTo>
                    <a:cubicBezTo>
                      <a:pt x="65" y="31"/>
                      <a:pt x="66" y="44"/>
                      <a:pt x="68" y="29"/>
                    </a:cubicBezTo>
                    <a:cubicBezTo>
                      <a:pt x="70" y="14"/>
                      <a:pt x="73" y="0"/>
                      <a:pt x="50" y="0"/>
                    </a:cubicBezTo>
                    <a:cubicBezTo>
                      <a:pt x="27" y="0"/>
                      <a:pt x="0" y="41"/>
                      <a:pt x="0" y="4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15" name="Freeform 186">
                <a:extLst>
                  <a:ext uri="{FF2B5EF4-FFF2-40B4-BE49-F238E27FC236}">
                    <a16:creationId xmlns:a16="http://schemas.microsoft.com/office/drawing/2014/main" id="{3003F8A0-4E21-4653-850C-D1B104FADF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5111766"/>
                <a:ext cx="139699" cy="265114"/>
              </a:xfrm>
              <a:custGeom>
                <a:avLst/>
                <a:gdLst>
                  <a:gd name="T0" fmla="*/ 16 w 37"/>
                  <a:gd name="T1" fmla="*/ 2 h 71"/>
                  <a:gd name="T2" fmla="*/ 31 w 37"/>
                  <a:gd name="T3" fmla="*/ 31 h 71"/>
                  <a:gd name="T4" fmla="*/ 24 w 37"/>
                  <a:gd name="T5" fmla="*/ 42 h 71"/>
                  <a:gd name="T6" fmla="*/ 3 w 37"/>
                  <a:gd name="T7" fmla="*/ 7 h 71"/>
                  <a:gd name="T8" fmla="*/ 16 w 37"/>
                  <a:gd name="T9" fmla="*/ 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71">
                    <a:moveTo>
                      <a:pt x="16" y="2"/>
                    </a:moveTo>
                    <a:cubicBezTo>
                      <a:pt x="24" y="6"/>
                      <a:pt x="32" y="19"/>
                      <a:pt x="31" y="31"/>
                    </a:cubicBezTo>
                    <a:cubicBezTo>
                      <a:pt x="30" y="43"/>
                      <a:pt x="37" y="71"/>
                      <a:pt x="24" y="42"/>
                    </a:cubicBezTo>
                    <a:cubicBezTo>
                      <a:pt x="11" y="14"/>
                      <a:pt x="0" y="14"/>
                      <a:pt x="3" y="7"/>
                    </a:cubicBezTo>
                    <a:cubicBezTo>
                      <a:pt x="6" y="0"/>
                      <a:pt x="16" y="2"/>
                      <a:pt x="16" y="2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16" name="Freeform 187">
                <a:extLst>
                  <a:ext uri="{FF2B5EF4-FFF2-40B4-BE49-F238E27FC236}">
                    <a16:creationId xmlns:a16="http://schemas.microsoft.com/office/drawing/2014/main" id="{BC5A2445-9825-4969-9C22-6AF04C2C0D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4" y="4159261"/>
                <a:ext cx="322265" cy="741365"/>
              </a:xfrm>
              <a:custGeom>
                <a:avLst/>
                <a:gdLst>
                  <a:gd name="T0" fmla="*/ 0 w 86"/>
                  <a:gd name="T1" fmla="*/ 0 h 198"/>
                  <a:gd name="T2" fmla="*/ 38 w 86"/>
                  <a:gd name="T3" fmla="*/ 16 h 198"/>
                  <a:gd name="T4" fmla="*/ 51 w 86"/>
                  <a:gd name="T5" fmla="*/ 54 h 198"/>
                  <a:gd name="T6" fmla="*/ 36 w 86"/>
                  <a:gd name="T7" fmla="*/ 54 h 198"/>
                  <a:gd name="T8" fmla="*/ 70 w 86"/>
                  <a:gd name="T9" fmla="*/ 161 h 198"/>
                  <a:gd name="T10" fmla="*/ 37 w 86"/>
                  <a:gd name="T11" fmla="*/ 132 h 198"/>
                  <a:gd name="T12" fmla="*/ 36 w 86"/>
                  <a:gd name="T13" fmla="*/ 198 h 198"/>
                  <a:gd name="T14" fmla="*/ 16 w 86"/>
                  <a:gd name="T15" fmla="*/ 96 h 198"/>
                  <a:gd name="T16" fmla="*/ 0 w 86"/>
                  <a:gd name="T17" fmla="*/ 28 h 198"/>
                  <a:gd name="T18" fmla="*/ 0 w 86"/>
                  <a:gd name="T19" fmla="*/ 0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6" h="198">
                    <a:moveTo>
                      <a:pt x="0" y="0"/>
                    </a:moveTo>
                    <a:cubicBezTo>
                      <a:pt x="0" y="0"/>
                      <a:pt x="32" y="2"/>
                      <a:pt x="38" y="16"/>
                    </a:cubicBezTo>
                    <a:cubicBezTo>
                      <a:pt x="44" y="31"/>
                      <a:pt x="66" y="67"/>
                      <a:pt x="51" y="54"/>
                    </a:cubicBezTo>
                    <a:cubicBezTo>
                      <a:pt x="36" y="41"/>
                      <a:pt x="17" y="24"/>
                      <a:pt x="36" y="54"/>
                    </a:cubicBezTo>
                    <a:cubicBezTo>
                      <a:pt x="54" y="84"/>
                      <a:pt x="86" y="181"/>
                      <a:pt x="70" y="161"/>
                    </a:cubicBezTo>
                    <a:cubicBezTo>
                      <a:pt x="55" y="141"/>
                      <a:pt x="39" y="108"/>
                      <a:pt x="37" y="132"/>
                    </a:cubicBezTo>
                    <a:cubicBezTo>
                      <a:pt x="36" y="156"/>
                      <a:pt x="36" y="198"/>
                      <a:pt x="36" y="198"/>
                    </a:cubicBezTo>
                    <a:cubicBezTo>
                      <a:pt x="16" y="96"/>
                      <a:pt x="16" y="96"/>
                      <a:pt x="16" y="96"/>
                    </a:cubicBezTo>
                    <a:cubicBezTo>
                      <a:pt x="0" y="28"/>
                      <a:pt x="0" y="28"/>
                      <a:pt x="0" y="28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17" name="Freeform 157">
                <a:extLst>
                  <a:ext uri="{FF2B5EF4-FFF2-40B4-BE49-F238E27FC236}">
                    <a16:creationId xmlns:a16="http://schemas.microsoft.com/office/drawing/2014/main" id="{07E3D7C4-0CD1-43F1-804C-D3580B4177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5160" y="960441"/>
                <a:ext cx="584203" cy="1049339"/>
              </a:xfrm>
              <a:custGeom>
                <a:avLst/>
                <a:gdLst>
                  <a:gd name="T0" fmla="*/ 0 w 156"/>
                  <a:gd name="T1" fmla="*/ 112 h 280"/>
                  <a:gd name="T2" fmla="*/ 0 w 156"/>
                  <a:gd name="T3" fmla="*/ 104 h 280"/>
                  <a:gd name="T4" fmla="*/ 11 w 156"/>
                  <a:gd name="T5" fmla="*/ 96 h 280"/>
                  <a:gd name="T6" fmla="*/ 4 w 156"/>
                  <a:gd name="T7" fmla="*/ 46 h 280"/>
                  <a:gd name="T8" fmla="*/ 28 w 156"/>
                  <a:gd name="T9" fmla="*/ 22 h 280"/>
                  <a:gd name="T10" fmla="*/ 59 w 156"/>
                  <a:gd name="T11" fmla="*/ 4 h 280"/>
                  <a:gd name="T12" fmla="*/ 108 w 156"/>
                  <a:gd name="T13" fmla="*/ 6 h 280"/>
                  <a:gd name="T14" fmla="*/ 138 w 156"/>
                  <a:gd name="T15" fmla="*/ 93 h 280"/>
                  <a:gd name="T16" fmla="*/ 143 w 156"/>
                  <a:gd name="T17" fmla="*/ 99 h 280"/>
                  <a:gd name="T18" fmla="*/ 131 w 156"/>
                  <a:gd name="T19" fmla="*/ 140 h 280"/>
                  <a:gd name="T20" fmla="*/ 122 w 156"/>
                  <a:gd name="T21" fmla="*/ 147 h 280"/>
                  <a:gd name="T22" fmla="*/ 114 w 156"/>
                  <a:gd name="T23" fmla="*/ 215 h 280"/>
                  <a:gd name="T24" fmla="*/ 80 w 156"/>
                  <a:gd name="T25" fmla="*/ 280 h 280"/>
                  <a:gd name="T26" fmla="*/ 56 w 156"/>
                  <a:gd name="T27" fmla="*/ 267 h 280"/>
                  <a:gd name="T28" fmla="*/ 44 w 156"/>
                  <a:gd name="T29" fmla="*/ 241 h 280"/>
                  <a:gd name="T30" fmla="*/ 24 w 156"/>
                  <a:gd name="T31" fmla="*/ 188 h 280"/>
                  <a:gd name="T32" fmla="*/ 24 w 156"/>
                  <a:gd name="T33" fmla="*/ 150 h 280"/>
                  <a:gd name="T34" fmla="*/ 12 w 156"/>
                  <a:gd name="T35" fmla="*/ 137 h 280"/>
                  <a:gd name="T36" fmla="*/ 0 w 156"/>
                  <a:gd name="T37" fmla="*/ 112 h 2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56" h="280">
                    <a:moveTo>
                      <a:pt x="0" y="112"/>
                    </a:moveTo>
                    <a:cubicBezTo>
                      <a:pt x="0" y="109"/>
                      <a:pt x="0" y="107"/>
                      <a:pt x="0" y="104"/>
                    </a:cubicBezTo>
                    <a:cubicBezTo>
                      <a:pt x="3" y="101"/>
                      <a:pt x="3" y="94"/>
                      <a:pt x="11" y="96"/>
                    </a:cubicBezTo>
                    <a:cubicBezTo>
                      <a:pt x="6" y="80"/>
                      <a:pt x="6" y="64"/>
                      <a:pt x="4" y="46"/>
                    </a:cubicBezTo>
                    <a:cubicBezTo>
                      <a:pt x="8" y="36"/>
                      <a:pt x="19" y="30"/>
                      <a:pt x="28" y="22"/>
                    </a:cubicBezTo>
                    <a:cubicBezTo>
                      <a:pt x="38" y="16"/>
                      <a:pt x="47" y="7"/>
                      <a:pt x="59" y="4"/>
                    </a:cubicBezTo>
                    <a:cubicBezTo>
                      <a:pt x="72" y="0"/>
                      <a:pt x="89" y="6"/>
                      <a:pt x="108" y="6"/>
                    </a:cubicBezTo>
                    <a:cubicBezTo>
                      <a:pt x="134" y="19"/>
                      <a:pt x="156" y="55"/>
                      <a:pt x="138" y="93"/>
                    </a:cubicBezTo>
                    <a:cubicBezTo>
                      <a:pt x="137" y="97"/>
                      <a:pt x="145" y="96"/>
                      <a:pt x="143" y="99"/>
                    </a:cubicBezTo>
                    <a:cubicBezTo>
                      <a:pt x="149" y="115"/>
                      <a:pt x="135" y="128"/>
                      <a:pt x="131" y="140"/>
                    </a:cubicBezTo>
                    <a:cubicBezTo>
                      <a:pt x="130" y="142"/>
                      <a:pt x="126" y="146"/>
                      <a:pt x="122" y="147"/>
                    </a:cubicBezTo>
                    <a:cubicBezTo>
                      <a:pt x="122" y="170"/>
                      <a:pt x="121" y="196"/>
                      <a:pt x="114" y="215"/>
                    </a:cubicBezTo>
                    <a:cubicBezTo>
                      <a:pt x="108" y="240"/>
                      <a:pt x="102" y="273"/>
                      <a:pt x="80" y="280"/>
                    </a:cubicBezTo>
                    <a:cubicBezTo>
                      <a:pt x="72" y="274"/>
                      <a:pt x="61" y="274"/>
                      <a:pt x="56" y="267"/>
                    </a:cubicBezTo>
                    <a:cubicBezTo>
                      <a:pt x="51" y="260"/>
                      <a:pt x="48" y="249"/>
                      <a:pt x="44" y="241"/>
                    </a:cubicBezTo>
                    <a:cubicBezTo>
                      <a:pt x="38" y="226"/>
                      <a:pt x="27" y="204"/>
                      <a:pt x="24" y="188"/>
                    </a:cubicBezTo>
                    <a:cubicBezTo>
                      <a:pt x="22" y="175"/>
                      <a:pt x="27" y="161"/>
                      <a:pt x="24" y="150"/>
                    </a:cubicBezTo>
                    <a:cubicBezTo>
                      <a:pt x="22" y="140"/>
                      <a:pt x="18" y="144"/>
                      <a:pt x="12" y="137"/>
                    </a:cubicBezTo>
                    <a:cubicBezTo>
                      <a:pt x="7" y="130"/>
                      <a:pt x="4" y="118"/>
                      <a:pt x="0" y="112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18" name="Freeform 158">
                <a:extLst>
                  <a:ext uri="{FF2B5EF4-FFF2-40B4-BE49-F238E27FC236}">
                    <a16:creationId xmlns:a16="http://schemas.microsoft.com/office/drawing/2014/main" id="{0527602D-B50F-4CB3-8726-046A408564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49535" y="3479810"/>
                <a:ext cx="255587" cy="434977"/>
              </a:xfrm>
              <a:custGeom>
                <a:avLst/>
                <a:gdLst>
                  <a:gd name="T0" fmla="*/ 63 w 68"/>
                  <a:gd name="T1" fmla="*/ 116 h 116"/>
                  <a:gd name="T2" fmla="*/ 60 w 68"/>
                  <a:gd name="T3" fmla="*/ 116 h 116"/>
                  <a:gd name="T4" fmla="*/ 16 w 68"/>
                  <a:gd name="T5" fmla="*/ 98 h 116"/>
                  <a:gd name="T6" fmla="*/ 0 w 68"/>
                  <a:gd name="T7" fmla="*/ 23 h 116"/>
                  <a:gd name="T8" fmla="*/ 55 w 68"/>
                  <a:gd name="T9" fmla="*/ 16 h 116"/>
                  <a:gd name="T10" fmla="*/ 68 w 68"/>
                  <a:gd name="T11" fmla="*/ 91 h 116"/>
                  <a:gd name="T12" fmla="*/ 62 w 68"/>
                  <a:gd name="T13" fmla="*/ 103 h 116"/>
                  <a:gd name="T14" fmla="*/ 63 w 68"/>
                  <a:gd name="T15" fmla="*/ 116 h 116"/>
                  <a:gd name="T16" fmla="*/ 38 w 68"/>
                  <a:gd name="T17" fmla="*/ 65 h 116"/>
                  <a:gd name="T18" fmla="*/ 54 w 68"/>
                  <a:gd name="T19" fmla="*/ 91 h 116"/>
                  <a:gd name="T20" fmla="*/ 44 w 68"/>
                  <a:gd name="T21" fmla="*/ 60 h 116"/>
                  <a:gd name="T22" fmla="*/ 38 w 68"/>
                  <a:gd name="T23" fmla="*/ 65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8" h="116">
                    <a:moveTo>
                      <a:pt x="63" y="116"/>
                    </a:moveTo>
                    <a:cubicBezTo>
                      <a:pt x="62" y="116"/>
                      <a:pt x="60" y="116"/>
                      <a:pt x="60" y="116"/>
                    </a:cubicBezTo>
                    <a:cubicBezTo>
                      <a:pt x="46" y="108"/>
                      <a:pt x="26" y="108"/>
                      <a:pt x="16" y="98"/>
                    </a:cubicBezTo>
                    <a:cubicBezTo>
                      <a:pt x="0" y="81"/>
                      <a:pt x="0" y="56"/>
                      <a:pt x="0" y="23"/>
                    </a:cubicBezTo>
                    <a:cubicBezTo>
                      <a:pt x="12" y="8"/>
                      <a:pt x="40" y="0"/>
                      <a:pt x="55" y="16"/>
                    </a:cubicBezTo>
                    <a:cubicBezTo>
                      <a:pt x="60" y="40"/>
                      <a:pt x="62" y="69"/>
                      <a:pt x="68" y="91"/>
                    </a:cubicBezTo>
                    <a:cubicBezTo>
                      <a:pt x="68" y="98"/>
                      <a:pt x="59" y="95"/>
                      <a:pt x="62" y="103"/>
                    </a:cubicBezTo>
                    <a:cubicBezTo>
                      <a:pt x="66" y="106"/>
                      <a:pt x="67" y="110"/>
                      <a:pt x="63" y="116"/>
                    </a:cubicBezTo>
                    <a:close/>
                    <a:moveTo>
                      <a:pt x="38" y="65"/>
                    </a:moveTo>
                    <a:cubicBezTo>
                      <a:pt x="40" y="75"/>
                      <a:pt x="38" y="93"/>
                      <a:pt x="54" y="91"/>
                    </a:cubicBezTo>
                    <a:cubicBezTo>
                      <a:pt x="47" y="85"/>
                      <a:pt x="50" y="69"/>
                      <a:pt x="44" y="60"/>
                    </a:cubicBezTo>
                    <a:cubicBezTo>
                      <a:pt x="43" y="64"/>
                      <a:pt x="38" y="61"/>
                      <a:pt x="38" y="6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19" name="Freeform 161">
                <a:extLst>
                  <a:ext uri="{FF2B5EF4-FFF2-40B4-BE49-F238E27FC236}">
                    <a16:creationId xmlns:a16="http://schemas.microsoft.com/office/drawing/2014/main" id="{02BF1648-C549-45F8-8FA9-998AFC2A63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1695456"/>
                <a:ext cx="525465" cy="1109667"/>
              </a:xfrm>
              <a:custGeom>
                <a:avLst/>
                <a:gdLst>
                  <a:gd name="T0" fmla="*/ 139 w 140"/>
                  <a:gd name="T1" fmla="*/ 64 h 296"/>
                  <a:gd name="T2" fmla="*/ 139 w 140"/>
                  <a:gd name="T3" fmla="*/ 71 h 296"/>
                  <a:gd name="T4" fmla="*/ 138 w 140"/>
                  <a:gd name="T5" fmla="*/ 71 h 296"/>
                  <a:gd name="T6" fmla="*/ 93 w 140"/>
                  <a:gd name="T7" fmla="*/ 296 h 296"/>
                  <a:gd name="T8" fmla="*/ 84 w 140"/>
                  <a:gd name="T9" fmla="*/ 296 h 296"/>
                  <a:gd name="T10" fmla="*/ 75 w 140"/>
                  <a:gd name="T11" fmla="*/ 294 h 296"/>
                  <a:gd name="T12" fmla="*/ 63 w 140"/>
                  <a:gd name="T13" fmla="*/ 261 h 296"/>
                  <a:gd name="T14" fmla="*/ 33 w 140"/>
                  <a:gd name="T15" fmla="*/ 170 h 296"/>
                  <a:gd name="T16" fmla="*/ 0 w 140"/>
                  <a:gd name="T17" fmla="*/ 34 h 296"/>
                  <a:gd name="T18" fmla="*/ 0 w 140"/>
                  <a:gd name="T19" fmla="*/ 27 h 296"/>
                  <a:gd name="T20" fmla="*/ 16 w 140"/>
                  <a:gd name="T21" fmla="*/ 0 h 296"/>
                  <a:gd name="T22" fmla="*/ 67 w 140"/>
                  <a:gd name="T23" fmla="*/ 34 h 296"/>
                  <a:gd name="T24" fmla="*/ 70 w 140"/>
                  <a:gd name="T25" fmla="*/ 68 h 296"/>
                  <a:gd name="T26" fmla="*/ 81 w 140"/>
                  <a:gd name="T27" fmla="*/ 61 h 296"/>
                  <a:gd name="T28" fmla="*/ 76 w 140"/>
                  <a:gd name="T29" fmla="*/ 43 h 296"/>
                  <a:gd name="T30" fmla="*/ 110 w 140"/>
                  <a:gd name="T31" fmla="*/ 11 h 296"/>
                  <a:gd name="T32" fmla="*/ 121 w 140"/>
                  <a:gd name="T33" fmla="*/ 3 h 296"/>
                  <a:gd name="T34" fmla="*/ 139 w 140"/>
                  <a:gd name="T35" fmla="*/ 64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0" h="296">
                    <a:moveTo>
                      <a:pt x="139" y="64"/>
                    </a:moveTo>
                    <a:cubicBezTo>
                      <a:pt x="139" y="67"/>
                      <a:pt x="139" y="68"/>
                      <a:pt x="139" y="71"/>
                    </a:cubicBezTo>
                    <a:cubicBezTo>
                      <a:pt x="138" y="71"/>
                      <a:pt x="138" y="71"/>
                      <a:pt x="138" y="71"/>
                    </a:cubicBezTo>
                    <a:cubicBezTo>
                      <a:pt x="125" y="148"/>
                      <a:pt x="108" y="221"/>
                      <a:pt x="93" y="296"/>
                    </a:cubicBezTo>
                    <a:cubicBezTo>
                      <a:pt x="90" y="296"/>
                      <a:pt x="87" y="296"/>
                      <a:pt x="84" y="296"/>
                    </a:cubicBezTo>
                    <a:cubicBezTo>
                      <a:pt x="85" y="294"/>
                      <a:pt x="78" y="296"/>
                      <a:pt x="75" y="294"/>
                    </a:cubicBezTo>
                    <a:cubicBezTo>
                      <a:pt x="72" y="291"/>
                      <a:pt x="67" y="273"/>
                      <a:pt x="63" y="261"/>
                    </a:cubicBezTo>
                    <a:cubicBezTo>
                      <a:pt x="53" y="231"/>
                      <a:pt x="42" y="201"/>
                      <a:pt x="33" y="170"/>
                    </a:cubicBezTo>
                    <a:cubicBezTo>
                      <a:pt x="18" y="118"/>
                      <a:pt x="8" y="74"/>
                      <a:pt x="0" y="34"/>
                    </a:cubicBezTo>
                    <a:cubicBezTo>
                      <a:pt x="0" y="32"/>
                      <a:pt x="0" y="29"/>
                      <a:pt x="0" y="27"/>
                    </a:cubicBezTo>
                    <a:cubicBezTo>
                      <a:pt x="3" y="16"/>
                      <a:pt x="3" y="0"/>
                      <a:pt x="16" y="0"/>
                    </a:cubicBezTo>
                    <a:cubicBezTo>
                      <a:pt x="31" y="13"/>
                      <a:pt x="49" y="23"/>
                      <a:pt x="67" y="34"/>
                    </a:cubicBezTo>
                    <a:cubicBezTo>
                      <a:pt x="74" y="43"/>
                      <a:pt x="71" y="56"/>
                      <a:pt x="70" y="68"/>
                    </a:cubicBezTo>
                    <a:cubicBezTo>
                      <a:pt x="75" y="68"/>
                      <a:pt x="80" y="64"/>
                      <a:pt x="81" y="61"/>
                    </a:cubicBezTo>
                    <a:cubicBezTo>
                      <a:pt x="80" y="62"/>
                      <a:pt x="72" y="49"/>
                      <a:pt x="76" y="43"/>
                    </a:cubicBezTo>
                    <a:cubicBezTo>
                      <a:pt x="87" y="33"/>
                      <a:pt x="98" y="22"/>
                      <a:pt x="110" y="11"/>
                    </a:cubicBezTo>
                    <a:cubicBezTo>
                      <a:pt x="114" y="8"/>
                      <a:pt x="116" y="0"/>
                      <a:pt x="121" y="3"/>
                    </a:cubicBezTo>
                    <a:cubicBezTo>
                      <a:pt x="140" y="11"/>
                      <a:pt x="134" y="43"/>
                      <a:pt x="139" y="64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20" name="Freeform 162">
                <a:extLst>
                  <a:ext uri="{FF2B5EF4-FFF2-40B4-BE49-F238E27FC236}">
                    <a16:creationId xmlns:a16="http://schemas.microsoft.com/office/drawing/2014/main" id="{395541AE-302A-4354-B6C7-AFDC183DCF7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19371" y="1709743"/>
                <a:ext cx="1695457" cy="2039945"/>
              </a:xfrm>
              <a:custGeom>
                <a:avLst/>
                <a:gdLst>
                  <a:gd name="T0" fmla="*/ 289 w 452"/>
                  <a:gd name="T1" fmla="*/ 0 h 544"/>
                  <a:gd name="T2" fmla="*/ 293 w 452"/>
                  <a:gd name="T3" fmla="*/ 0 h 544"/>
                  <a:gd name="T4" fmla="*/ 403 w 452"/>
                  <a:gd name="T5" fmla="*/ 35 h 544"/>
                  <a:gd name="T6" fmla="*/ 413 w 452"/>
                  <a:gd name="T7" fmla="*/ 78 h 544"/>
                  <a:gd name="T8" fmla="*/ 414 w 452"/>
                  <a:gd name="T9" fmla="*/ 130 h 544"/>
                  <a:gd name="T10" fmla="*/ 421 w 452"/>
                  <a:gd name="T11" fmla="*/ 163 h 544"/>
                  <a:gd name="T12" fmla="*/ 424 w 452"/>
                  <a:gd name="T13" fmla="*/ 225 h 544"/>
                  <a:gd name="T14" fmla="*/ 446 w 452"/>
                  <a:gd name="T15" fmla="*/ 341 h 544"/>
                  <a:gd name="T16" fmla="*/ 452 w 452"/>
                  <a:gd name="T17" fmla="*/ 475 h 544"/>
                  <a:gd name="T18" fmla="*/ 439 w 452"/>
                  <a:gd name="T19" fmla="*/ 471 h 544"/>
                  <a:gd name="T20" fmla="*/ 395 w 452"/>
                  <a:gd name="T21" fmla="*/ 476 h 544"/>
                  <a:gd name="T22" fmla="*/ 395 w 452"/>
                  <a:gd name="T23" fmla="*/ 513 h 544"/>
                  <a:gd name="T24" fmla="*/ 340 w 452"/>
                  <a:gd name="T25" fmla="*/ 517 h 544"/>
                  <a:gd name="T26" fmla="*/ 289 w 452"/>
                  <a:gd name="T27" fmla="*/ 470 h 544"/>
                  <a:gd name="T28" fmla="*/ 248 w 452"/>
                  <a:gd name="T29" fmla="*/ 372 h 544"/>
                  <a:gd name="T30" fmla="*/ 206 w 452"/>
                  <a:gd name="T31" fmla="*/ 527 h 544"/>
                  <a:gd name="T32" fmla="*/ 70 w 452"/>
                  <a:gd name="T33" fmla="*/ 523 h 544"/>
                  <a:gd name="T34" fmla="*/ 70 w 452"/>
                  <a:gd name="T35" fmla="*/ 499 h 544"/>
                  <a:gd name="T36" fmla="*/ 56 w 452"/>
                  <a:gd name="T37" fmla="*/ 486 h 544"/>
                  <a:gd name="T38" fmla="*/ 4 w 452"/>
                  <a:gd name="T39" fmla="*/ 499 h 544"/>
                  <a:gd name="T40" fmla="*/ 4 w 452"/>
                  <a:gd name="T41" fmla="*/ 364 h 544"/>
                  <a:gd name="T42" fmla="*/ 12 w 452"/>
                  <a:gd name="T43" fmla="*/ 322 h 544"/>
                  <a:gd name="T44" fmla="*/ 16 w 452"/>
                  <a:gd name="T45" fmla="*/ 264 h 544"/>
                  <a:gd name="T46" fmla="*/ 33 w 452"/>
                  <a:gd name="T47" fmla="*/ 124 h 544"/>
                  <a:gd name="T48" fmla="*/ 49 w 452"/>
                  <a:gd name="T49" fmla="*/ 44 h 544"/>
                  <a:gd name="T50" fmla="*/ 107 w 452"/>
                  <a:gd name="T51" fmla="*/ 25 h 544"/>
                  <a:gd name="T52" fmla="*/ 163 w 452"/>
                  <a:gd name="T53" fmla="*/ 4 h 544"/>
                  <a:gd name="T54" fmla="*/ 196 w 452"/>
                  <a:gd name="T55" fmla="*/ 153 h 544"/>
                  <a:gd name="T56" fmla="*/ 228 w 452"/>
                  <a:gd name="T57" fmla="*/ 255 h 544"/>
                  <a:gd name="T58" fmla="*/ 244 w 452"/>
                  <a:gd name="T59" fmla="*/ 285 h 544"/>
                  <a:gd name="T60" fmla="*/ 251 w 452"/>
                  <a:gd name="T61" fmla="*/ 265 h 544"/>
                  <a:gd name="T62" fmla="*/ 256 w 452"/>
                  <a:gd name="T63" fmla="*/ 242 h 544"/>
                  <a:gd name="T64" fmla="*/ 285 w 452"/>
                  <a:gd name="T65" fmla="*/ 109 h 544"/>
                  <a:gd name="T66" fmla="*/ 289 w 452"/>
                  <a:gd name="T67" fmla="*/ 0 h 544"/>
                  <a:gd name="T68" fmla="*/ 80 w 452"/>
                  <a:gd name="T69" fmla="*/ 314 h 544"/>
                  <a:gd name="T70" fmla="*/ 80 w 452"/>
                  <a:gd name="T71" fmla="*/ 344 h 544"/>
                  <a:gd name="T72" fmla="*/ 80 w 452"/>
                  <a:gd name="T73" fmla="*/ 383 h 544"/>
                  <a:gd name="T74" fmla="*/ 92 w 452"/>
                  <a:gd name="T75" fmla="*/ 332 h 544"/>
                  <a:gd name="T76" fmla="*/ 92 w 452"/>
                  <a:gd name="T77" fmla="*/ 265 h 544"/>
                  <a:gd name="T78" fmla="*/ 80 w 452"/>
                  <a:gd name="T79" fmla="*/ 314 h 5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52" h="544">
                    <a:moveTo>
                      <a:pt x="289" y="0"/>
                    </a:moveTo>
                    <a:cubicBezTo>
                      <a:pt x="290" y="0"/>
                      <a:pt x="291" y="0"/>
                      <a:pt x="293" y="0"/>
                    </a:cubicBezTo>
                    <a:cubicBezTo>
                      <a:pt x="329" y="13"/>
                      <a:pt x="366" y="25"/>
                      <a:pt x="403" y="35"/>
                    </a:cubicBezTo>
                    <a:cubicBezTo>
                      <a:pt x="405" y="50"/>
                      <a:pt x="411" y="63"/>
                      <a:pt x="413" y="78"/>
                    </a:cubicBezTo>
                    <a:cubicBezTo>
                      <a:pt x="414" y="95"/>
                      <a:pt x="413" y="112"/>
                      <a:pt x="414" y="130"/>
                    </a:cubicBezTo>
                    <a:cubicBezTo>
                      <a:pt x="414" y="142"/>
                      <a:pt x="420" y="152"/>
                      <a:pt x="421" y="163"/>
                    </a:cubicBezTo>
                    <a:cubicBezTo>
                      <a:pt x="422" y="185"/>
                      <a:pt x="421" y="205"/>
                      <a:pt x="424" y="225"/>
                    </a:cubicBezTo>
                    <a:cubicBezTo>
                      <a:pt x="429" y="265"/>
                      <a:pt x="441" y="302"/>
                      <a:pt x="446" y="341"/>
                    </a:cubicBezTo>
                    <a:cubicBezTo>
                      <a:pt x="451" y="384"/>
                      <a:pt x="449" y="426"/>
                      <a:pt x="452" y="475"/>
                    </a:cubicBezTo>
                    <a:cubicBezTo>
                      <a:pt x="450" y="480"/>
                      <a:pt x="443" y="472"/>
                      <a:pt x="439" y="471"/>
                    </a:cubicBezTo>
                    <a:cubicBezTo>
                      <a:pt x="424" y="467"/>
                      <a:pt x="404" y="467"/>
                      <a:pt x="395" y="476"/>
                    </a:cubicBezTo>
                    <a:cubicBezTo>
                      <a:pt x="395" y="489"/>
                      <a:pt x="395" y="500"/>
                      <a:pt x="395" y="513"/>
                    </a:cubicBezTo>
                    <a:cubicBezTo>
                      <a:pt x="375" y="513"/>
                      <a:pt x="357" y="519"/>
                      <a:pt x="340" y="517"/>
                    </a:cubicBezTo>
                    <a:cubicBezTo>
                      <a:pt x="312" y="514"/>
                      <a:pt x="301" y="490"/>
                      <a:pt x="289" y="470"/>
                    </a:cubicBezTo>
                    <a:cubicBezTo>
                      <a:pt x="273" y="443"/>
                      <a:pt x="256" y="400"/>
                      <a:pt x="248" y="372"/>
                    </a:cubicBezTo>
                    <a:cubicBezTo>
                      <a:pt x="238" y="428"/>
                      <a:pt x="235" y="489"/>
                      <a:pt x="206" y="527"/>
                    </a:cubicBezTo>
                    <a:cubicBezTo>
                      <a:pt x="171" y="544"/>
                      <a:pt x="108" y="532"/>
                      <a:pt x="70" y="523"/>
                    </a:cubicBezTo>
                    <a:cubicBezTo>
                      <a:pt x="70" y="515"/>
                      <a:pt x="70" y="506"/>
                      <a:pt x="70" y="499"/>
                    </a:cubicBezTo>
                    <a:cubicBezTo>
                      <a:pt x="63" y="501"/>
                      <a:pt x="61" y="490"/>
                      <a:pt x="56" y="486"/>
                    </a:cubicBezTo>
                    <a:cubicBezTo>
                      <a:pt x="35" y="486"/>
                      <a:pt x="19" y="492"/>
                      <a:pt x="4" y="499"/>
                    </a:cubicBezTo>
                    <a:cubicBezTo>
                      <a:pt x="7" y="454"/>
                      <a:pt x="0" y="410"/>
                      <a:pt x="4" y="364"/>
                    </a:cubicBezTo>
                    <a:cubicBezTo>
                      <a:pt x="4" y="350"/>
                      <a:pt x="10" y="336"/>
                      <a:pt x="12" y="322"/>
                    </a:cubicBezTo>
                    <a:cubicBezTo>
                      <a:pt x="14" y="303"/>
                      <a:pt x="14" y="283"/>
                      <a:pt x="16" y="264"/>
                    </a:cubicBezTo>
                    <a:cubicBezTo>
                      <a:pt x="23" y="218"/>
                      <a:pt x="24" y="170"/>
                      <a:pt x="33" y="124"/>
                    </a:cubicBezTo>
                    <a:cubicBezTo>
                      <a:pt x="40" y="97"/>
                      <a:pt x="41" y="69"/>
                      <a:pt x="49" y="44"/>
                    </a:cubicBezTo>
                    <a:cubicBezTo>
                      <a:pt x="67" y="35"/>
                      <a:pt x="87" y="31"/>
                      <a:pt x="107" y="25"/>
                    </a:cubicBezTo>
                    <a:cubicBezTo>
                      <a:pt x="125" y="17"/>
                      <a:pt x="143" y="9"/>
                      <a:pt x="163" y="4"/>
                    </a:cubicBezTo>
                    <a:cubicBezTo>
                      <a:pt x="175" y="54"/>
                      <a:pt x="184" y="105"/>
                      <a:pt x="196" y="153"/>
                    </a:cubicBezTo>
                    <a:cubicBezTo>
                      <a:pt x="205" y="189"/>
                      <a:pt x="217" y="223"/>
                      <a:pt x="228" y="255"/>
                    </a:cubicBezTo>
                    <a:cubicBezTo>
                      <a:pt x="232" y="265"/>
                      <a:pt x="235" y="279"/>
                      <a:pt x="244" y="285"/>
                    </a:cubicBezTo>
                    <a:cubicBezTo>
                      <a:pt x="251" y="280"/>
                      <a:pt x="249" y="271"/>
                      <a:pt x="251" y="265"/>
                    </a:cubicBezTo>
                    <a:cubicBezTo>
                      <a:pt x="252" y="257"/>
                      <a:pt x="253" y="250"/>
                      <a:pt x="256" y="242"/>
                    </a:cubicBezTo>
                    <a:cubicBezTo>
                      <a:pt x="265" y="196"/>
                      <a:pt x="278" y="154"/>
                      <a:pt x="285" y="109"/>
                    </a:cubicBezTo>
                    <a:cubicBezTo>
                      <a:pt x="290" y="75"/>
                      <a:pt x="286" y="35"/>
                      <a:pt x="289" y="0"/>
                    </a:cubicBezTo>
                    <a:close/>
                    <a:moveTo>
                      <a:pt x="80" y="314"/>
                    </a:moveTo>
                    <a:cubicBezTo>
                      <a:pt x="79" y="323"/>
                      <a:pt x="82" y="334"/>
                      <a:pt x="80" y="344"/>
                    </a:cubicBezTo>
                    <a:cubicBezTo>
                      <a:pt x="80" y="356"/>
                      <a:pt x="76" y="370"/>
                      <a:pt x="80" y="383"/>
                    </a:cubicBezTo>
                    <a:cubicBezTo>
                      <a:pt x="84" y="367"/>
                      <a:pt x="88" y="350"/>
                      <a:pt x="92" y="332"/>
                    </a:cubicBezTo>
                    <a:cubicBezTo>
                      <a:pt x="96" y="313"/>
                      <a:pt x="101" y="281"/>
                      <a:pt x="92" y="265"/>
                    </a:cubicBezTo>
                    <a:cubicBezTo>
                      <a:pt x="91" y="284"/>
                      <a:pt x="83" y="297"/>
                      <a:pt x="80" y="314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21" name="Freeform 163">
                <a:extLst>
                  <a:ext uri="{FF2B5EF4-FFF2-40B4-BE49-F238E27FC236}">
                    <a16:creationId xmlns:a16="http://schemas.microsoft.com/office/drawing/2014/main" id="{58E806BC-A540-4E4B-A9EA-944B5D085F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70225" y="1665292"/>
                <a:ext cx="839790" cy="1258889"/>
              </a:xfrm>
              <a:custGeom>
                <a:avLst/>
                <a:gdLst>
                  <a:gd name="T0" fmla="*/ 160 w 224"/>
                  <a:gd name="T1" fmla="*/ 0 h 336"/>
                  <a:gd name="T2" fmla="*/ 161 w 224"/>
                  <a:gd name="T3" fmla="*/ 0 h 336"/>
                  <a:gd name="T4" fmla="*/ 192 w 224"/>
                  <a:gd name="T5" fmla="*/ 20 h 336"/>
                  <a:gd name="T6" fmla="*/ 219 w 224"/>
                  <a:gd name="T7" fmla="*/ 62 h 336"/>
                  <a:gd name="T8" fmla="*/ 202 w 224"/>
                  <a:gd name="T9" fmla="*/ 79 h 336"/>
                  <a:gd name="T10" fmla="*/ 224 w 224"/>
                  <a:gd name="T11" fmla="*/ 101 h 336"/>
                  <a:gd name="T12" fmla="*/ 224 w 224"/>
                  <a:gd name="T13" fmla="*/ 104 h 336"/>
                  <a:gd name="T14" fmla="*/ 122 w 224"/>
                  <a:gd name="T15" fmla="*/ 336 h 336"/>
                  <a:gd name="T16" fmla="*/ 121 w 224"/>
                  <a:gd name="T17" fmla="*/ 308 h 336"/>
                  <a:gd name="T18" fmla="*/ 2 w 224"/>
                  <a:gd name="T19" fmla="*/ 111 h 336"/>
                  <a:gd name="T20" fmla="*/ 17 w 224"/>
                  <a:gd name="T21" fmla="*/ 84 h 336"/>
                  <a:gd name="T22" fmla="*/ 0 w 224"/>
                  <a:gd name="T23" fmla="*/ 65 h 336"/>
                  <a:gd name="T24" fmla="*/ 0 w 224"/>
                  <a:gd name="T25" fmla="*/ 63 h 336"/>
                  <a:gd name="T26" fmla="*/ 48 w 224"/>
                  <a:gd name="T27" fmla="*/ 8 h 336"/>
                  <a:gd name="T28" fmla="*/ 122 w 224"/>
                  <a:gd name="T29" fmla="*/ 293 h 336"/>
                  <a:gd name="T30" fmla="*/ 160 w 224"/>
                  <a:gd name="T31" fmla="*/ 0 h 3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24" h="336">
                    <a:moveTo>
                      <a:pt x="160" y="0"/>
                    </a:moveTo>
                    <a:cubicBezTo>
                      <a:pt x="160" y="0"/>
                      <a:pt x="160" y="0"/>
                      <a:pt x="161" y="0"/>
                    </a:cubicBezTo>
                    <a:cubicBezTo>
                      <a:pt x="169" y="9"/>
                      <a:pt x="177" y="18"/>
                      <a:pt x="192" y="20"/>
                    </a:cubicBezTo>
                    <a:cubicBezTo>
                      <a:pt x="200" y="35"/>
                      <a:pt x="210" y="48"/>
                      <a:pt x="219" y="62"/>
                    </a:cubicBezTo>
                    <a:cubicBezTo>
                      <a:pt x="217" y="69"/>
                      <a:pt x="206" y="72"/>
                      <a:pt x="202" y="79"/>
                    </a:cubicBezTo>
                    <a:cubicBezTo>
                      <a:pt x="209" y="87"/>
                      <a:pt x="217" y="95"/>
                      <a:pt x="224" y="101"/>
                    </a:cubicBezTo>
                    <a:cubicBezTo>
                      <a:pt x="224" y="102"/>
                      <a:pt x="224" y="104"/>
                      <a:pt x="224" y="104"/>
                    </a:cubicBezTo>
                    <a:cubicBezTo>
                      <a:pt x="197" y="189"/>
                      <a:pt x="160" y="263"/>
                      <a:pt x="122" y="336"/>
                    </a:cubicBezTo>
                    <a:cubicBezTo>
                      <a:pt x="117" y="333"/>
                      <a:pt x="118" y="315"/>
                      <a:pt x="121" y="308"/>
                    </a:cubicBezTo>
                    <a:cubicBezTo>
                      <a:pt x="77" y="247"/>
                      <a:pt x="35" y="184"/>
                      <a:pt x="2" y="111"/>
                    </a:cubicBezTo>
                    <a:cubicBezTo>
                      <a:pt x="6" y="101"/>
                      <a:pt x="12" y="93"/>
                      <a:pt x="17" y="84"/>
                    </a:cubicBezTo>
                    <a:cubicBezTo>
                      <a:pt x="15" y="76"/>
                      <a:pt x="7" y="72"/>
                      <a:pt x="0" y="65"/>
                    </a:cubicBezTo>
                    <a:cubicBezTo>
                      <a:pt x="0" y="65"/>
                      <a:pt x="0" y="64"/>
                      <a:pt x="0" y="63"/>
                    </a:cubicBezTo>
                    <a:cubicBezTo>
                      <a:pt x="16" y="44"/>
                      <a:pt x="25" y="18"/>
                      <a:pt x="48" y="8"/>
                    </a:cubicBezTo>
                    <a:cubicBezTo>
                      <a:pt x="73" y="104"/>
                      <a:pt x="95" y="200"/>
                      <a:pt x="122" y="293"/>
                    </a:cubicBezTo>
                    <a:cubicBezTo>
                      <a:pt x="136" y="198"/>
                      <a:pt x="164" y="114"/>
                      <a:pt x="160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22" name="Freeform 164">
                <a:extLst>
                  <a:ext uri="{FF2B5EF4-FFF2-40B4-BE49-F238E27FC236}">
                    <a16:creationId xmlns:a16="http://schemas.microsoft.com/office/drawing/2014/main" id="{14D25074-79CD-4BE5-ACE5-4BCBE40D22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9611" y="1619255"/>
                <a:ext cx="165099" cy="330202"/>
              </a:xfrm>
              <a:custGeom>
                <a:avLst/>
                <a:gdLst>
                  <a:gd name="T0" fmla="*/ 0 w 44"/>
                  <a:gd name="T1" fmla="*/ 21 h 88"/>
                  <a:gd name="T2" fmla="*/ 0 w 44"/>
                  <a:gd name="T3" fmla="*/ 21 h 88"/>
                  <a:gd name="T4" fmla="*/ 12 w 44"/>
                  <a:gd name="T5" fmla="*/ 0 h 88"/>
                  <a:gd name="T6" fmla="*/ 44 w 44"/>
                  <a:gd name="T7" fmla="*/ 46 h 88"/>
                  <a:gd name="T8" fmla="*/ 19 w 44"/>
                  <a:gd name="T9" fmla="*/ 88 h 88"/>
                  <a:gd name="T10" fmla="*/ 0 w 44"/>
                  <a:gd name="T11" fmla="*/ 21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88">
                    <a:moveTo>
                      <a:pt x="0" y="21"/>
                    </a:moveTo>
                    <a:cubicBezTo>
                      <a:pt x="0" y="21"/>
                      <a:pt x="0" y="21"/>
                      <a:pt x="0" y="21"/>
                    </a:cubicBezTo>
                    <a:cubicBezTo>
                      <a:pt x="8" y="17"/>
                      <a:pt x="6" y="4"/>
                      <a:pt x="12" y="0"/>
                    </a:cubicBezTo>
                    <a:cubicBezTo>
                      <a:pt x="17" y="21"/>
                      <a:pt x="35" y="28"/>
                      <a:pt x="44" y="46"/>
                    </a:cubicBezTo>
                    <a:cubicBezTo>
                      <a:pt x="32" y="56"/>
                      <a:pt x="35" y="82"/>
                      <a:pt x="19" y="88"/>
                    </a:cubicBezTo>
                    <a:cubicBezTo>
                      <a:pt x="11" y="63"/>
                      <a:pt x="8" y="50"/>
                      <a:pt x="0" y="21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23" name="Freeform 165">
                <a:extLst>
                  <a:ext uri="{FF2B5EF4-FFF2-40B4-BE49-F238E27FC236}">
                    <a16:creationId xmlns:a16="http://schemas.microsoft.com/office/drawing/2014/main" id="{72057DC2-4B1B-416E-BD4F-423B555FDE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65526" y="1619255"/>
                <a:ext cx="134939" cy="346075"/>
              </a:xfrm>
              <a:custGeom>
                <a:avLst/>
                <a:gdLst>
                  <a:gd name="T0" fmla="*/ 22 w 36"/>
                  <a:gd name="T1" fmla="*/ 0 h 92"/>
                  <a:gd name="T2" fmla="*/ 22 w 36"/>
                  <a:gd name="T3" fmla="*/ 92 h 92"/>
                  <a:gd name="T4" fmla="*/ 0 w 36"/>
                  <a:gd name="T5" fmla="*/ 46 h 92"/>
                  <a:gd name="T6" fmla="*/ 22 w 36"/>
                  <a:gd name="T7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6" h="92">
                    <a:moveTo>
                      <a:pt x="22" y="0"/>
                    </a:moveTo>
                    <a:cubicBezTo>
                      <a:pt x="36" y="13"/>
                      <a:pt x="29" y="69"/>
                      <a:pt x="22" y="92"/>
                    </a:cubicBezTo>
                    <a:cubicBezTo>
                      <a:pt x="3" y="91"/>
                      <a:pt x="8" y="55"/>
                      <a:pt x="0" y="46"/>
                    </a:cubicBezTo>
                    <a:cubicBezTo>
                      <a:pt x="4" y="29"/>
                      <a:pt x="22" y="26"/>
                      <a:pt x="22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24" name="Freeform 166">
                <a:extLst>
                  <a:ext uri="{FF2B5EF4-FFF2-40B4-BE49-F238E27FC236}">
                    <a16:creationId xmlns:a16="http://schemas.microsoft.com/office/drawing/2014/main" id="{0C624E6C-9DD5-460F-BEA7-B48CA61232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6274" y="955678"/>
                <a:ext cx="581026" cy="346075"/>
              </a:xfrm>
              <a:custGeom>
                <a:avLst/>
                <a:gdLst>
                  <a:gd name="T0" fmla="*/ 20 w 155"/>
                  <a:gd name="T1" fmla="*/ 49 h 92"/>
                  <a:gd name="T2" fmla="*/ 54 w 155"/>
                  <a:gd name="T3" fmla="*/ 54 h 92"/>
                  <a:gd name="T4" fmla="*/ 98 w 155"/>
                  <a:gd name="T5" fmla="*/ 59 h 92"/>
                  <a:gd name="T6" fmla="*/ 128 w 155"/>
                  <a:gd name="T7" fmla="*/ 67 h 92"/>
                  <a:gd name="T8" fmla="*/ 136 w 155"/>
                  <a:gd name="T9" fmla="*/ 92 h 92"/>
                  <a:gd name="T10" fmla="*/ 105 w 155"/>
                  <a:gd name="T11" fmla="*/ 5 h 92"/>
                  <a:gd name="T12" fmla="*/ 55 w 155"/>
                  <a:gd name="T13" fmla="*/ 4 h 92"/>
                  <a:gd name="T14" fmla="*/ 24 w 155"/>
                  <a:gd name="T15" fmla="*/ 21 h 92"/>
                  <a:gd name="T16" fmla="*/ 0 w 155"/>
                  <a:gd name="T17" fmla="*/ 45 h 92"/>
                  <a:gd name="T18" fmla="*/ 6 w 155"/>
                  <a:gd name="T19" fmla="*/ 91 h 92"/>
                  <a:gd name="T20" fmla="*/ 7 w 155"/>
                  <a:gd name="T21" fmla="*/ 91 h 92"/>
                  <a:gd name="T22" fmla="*/ 20 w 155"/>
                  <a:gd name="T23" fmla="*/ 49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5" h="92">
                    <a:moveTo>
                      <a:pt x="20" y="49"/>
                    </a:moveTo>
                    <a:cubicBezTo>
                      <a:pt x="28" y="48"/>
                      <a:pt x="33" y="47"/>
                      <a:pt x="54" y="54"/>
                    </a:cubicBezTo>
                    <a:cubicBezTo>
                      <a:pt x="75" y="60"/>
                      <a:pt x="90" y="69"/>
                      <a:pt x="98" y="59"/>
                    </a:cubicBezTo>
                    <a:cubicBezTo>
                      <a:pt x="107" y="49"/>
                      <a:pt x="127" y="62"/>
                      <a:pt x="128" y="67"/>
                    </a:cubicBezTo>
                    <a:cubicBezTo>
                      <a:pt x="130" y="73"/>
                      <a:pt x="136" y="92"/>
                      <a:pt x="136" y="92"/>
                    </a:cubicBezTo>
                    <a:cubicBezTo>
                      <a:pt x="155" y="54"/>
                      <a:pt x="132" y="19"/>
                      <a:pt x="105" y="5"/>
                    </a:cubicBezTo>
                    <a:cubicBezTo>
                      <a:pt x="86" y="5"/>
                      <a:pt x="69" y="0"/>
                      <a:pt x="55" y="4"/>
                    </a:cubicBezTo>
                    <a:cubicBezTo>
                      <a:pt x="43" y="6"/>
                      <a:pt x="34" y="15"/>
                      <a:pt x="24" y="21"/>
                    </a:cubicBezTo>
                    <a:cubicBezTo>
                      <a:pt x="15" y="29"/>
                      <a:pt x="4" y="35"/>
                      <a:pt x="0" y="45"/>
                    </a:cubicBezTo>
                    <a:cubicBezTo>
                      <a:pt x="1" y="62"/>
                      <a:pt x="1" y="77"/>
                      <a:pt x="6" y="91"/>
                    </a:cubicBezTo>
                    <a:cubicBezTo>
                      <a:pt x="7" y="91"/>
                      <a:pt x="7" y="91"/>
                      <a:pt x="7" y="91"/>
                    </a:cubicBezTo>
                    <a:cubicBezTo>
                      <a:pt x="9" y="82"/>
                      <a:pt x="14" y="51"/>
                      <a:pt x="20" y="49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25" name="Freeform 167">
                <a:extLst>
                  <a:ext uri="{FF2B5EF4-FFF2-40B4-BE49-F238E27FC236}">
                    <a16:creationId xmlns:a16="http://schemas.microsoft.com/office/drawing/2014/main" id="{AA8B7BF3-0C58-421B-AD61-4F42EFC620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16312" y="2133606"/>
                <a:ext cx="71438" cy="96838"/>
              </a:xfrm>
              <a:custGeom>
                <a:avLst/>
                <a:gdLst>
                  <a:gd name="T0" fmla="*/ 5 w 19"/>
                  <a:gd name="T1" fmla="*/ 10 h 26"/>
                  <a:gd name="T2" fmla="*/ 11 w 19"/>
                  <a:gd name="T3" fmla="*/ 2 h 26"/>
                  <a:gd name="T4" fmla="*/ 15 w 19"/>
                  <a:gd name="T5" fmla="*/ 10 h 26"/>
                  <a:gd name="T6" fmla="*/ 0 w 19"/>
                  <a:gd name="T7" fmla="*/ 22 h 26"/>
                  <a:gd name="T8" fmla="*/ 5 w 19"/>
                  <a:gd name="T9" fmla="*/ 1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6">
                    <a:moveTo>
                      <a:pt x="5" y="10"/>
                    </a:moveTo>
                    <a:cubicBezTo>
                      <a:pt x="9" y="6"/>
                      <a:pt x="5" y="0"/>
                      <a:pt x="11" y="2"/>
                    </a:cubicBezTo>
                    <a:cubicBezTo>
                      <a:pt x="16" y="4"/>
                      <a:pt x="19" y="5"/>
                      <a:pt x="15" y="10"/>
                    </a:cubicBezTo>
                    <a:cubicBezTo>
                      <a:pt x="11" y="16"/>
                      <a:pt x="0" y="26"/>
                      <a:pt x="0" y="22"/>
                    </a:cubicBezTo>
                    <a:cubicBezTo>
                      <a:pt x="0" y="19"/>
                      <a:pt x="5" y="10"/>
                      <a:pt x="5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26" name="Freeform 168">
                <a:extLst>
                  <a:ext uri="{FF2B5EF4-FFF2-40B4-BE49-F238E27FC236}">
                    <a16:creationId xmlns:a16="http://schemas.microsoft.com/office/drawing/2014/main" id="{9ACFCD0D-2DD7-4E23-879F-7BDE26C0DE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7261" y="2354269"/>
                <a:ext cx="71438" cy="93661"/>
              </a:xfrm>
              <a:custGeom>
                <a:avLst/>
                <a:gdLst>
                  <a:gd name="T0" fmla="*/ 6 w 19"/>
                  <a:gd name="T1" fmla="*/ 10 h 25"/>
                  <a:gd name="T2" fmla="*/ 11 w 19"/>
                  <a:gd name="T3" fmla="*/ 2 h 25"/>
                  <a:gd name="T4" fmla="*/ 15 w 19"/>
                  <a:gd name="T5" fmla="*/ 10 h 25"/>
                  <a:gd name="T6" fmla="*/ 0 w 19"/>
                  <a:gd name="T7" fmla="*/ 22 h 25"/>
                  <a:gd name="T8" fmla="*/ 6 w 19"/>
                  <a:gd name="T9" fmla="*/ 1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5">
                    <a:moveTo>
                      <a:pt x="6" y="10"/>
                    </a:moveTo>
                    <a:cubicBezTo>
                      <a:pt x="9" y="5"/>
                      <a:pt x="6" y="0"/>
                      <a:pt x="11" y="2"/>
                    </a:cubicBezTo>
                    <a:cubicBezTo>
                      <a:pt x="16" y="4"/>
                      <a:pt x="19" y="4"/>
                      <a:pt x="15" y="10"/>
                    </a:cubicBezTo>
                    <a:cubicBezTo>
                      <a:pt x="11" y="15"/>
                      <a:pt x="0" y="25"/>
                      <a:pt x="0" y="22"/>
                    </a:cubicBezTo>
                    <a:cubicBezTo>
                      <a:pt x="0" y="19"/>
                      <a:pt x="6" y="10"/>
                      <a:pt x="6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27" name="Freeform 169">
                <a:extLst>
                  <a:ext uri="{FF2B5EF4-FFF2-40B4-BE49-F238E27FC236}">
                    <a16:creationId xmlns:a16="http://schemas.microsoft.com/office/drawing/2014/main" id="{1A7095F3-6371-4D2A-B746-3EBB6829B7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27349" y="2073282"/>
                <a:ext cx="49214" cy="630240"/>
              </a:xfrm>
              <a:custGeom>
                <a:avLst/>
                <a:gdLst>
                  <a:gd name="T0" fmla="*/ 10 w 13"/>
                  <a:gd name="T1" fmla="*/ 168 h 168"/>
                  <a:gd name="T2" fmla="*/ 6 w 13"/>
                  <a:gd name="T3" fmla="*/ 39 h 168"/>
                  <a:gd name="T4" fmla="*/ 6 w 13"/>
                  <a:gd name="T5" fmla="*/ 10 h 168"/>
                  <a:gd name="T6" fmla="*/ 13 w 13"/>
                  <a:gd name="T7" fmla="*/ 10 h 168"/>
                  <a:gd name="T8" fmla="*/ 10 w 13"/>
                  <a:gd name="T9" fmla="*/ 168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68">
                    <a:moveTo>
                      <a:pt x="10" y="168"/>
                    </a:moveTo>
                    <a:cubicBezTo>
                      <a:pt x="10" y="168"/>
                      <a:pt x="11" y="61"/>
                      <a:pt x="6" y="39"/>
                    </a:cubicBezTo>
                    <a:cubicBezTo>
                      <a:pt x="0" y="17"/>
                      <a:pt x="2" y="10"/>
                      <a:pt x="6" y="10"/>
                    </a:cubicBezTo>
                    <a:cubicBezTo>
                      <a:pt x="10" y="10"/>
                      <a:pt x="13" y="0"/>
                      <a:pt x="13" y="10"/>
                    </a:cubicBezTo>
                    <a:cubicBezTo>
                      <a:pt x="13" y="20"/>
                      <a:pt x="10" y="168"/>
                      <a:pt x="10" y="168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28" name="Freeform 170">
                <a:extLst>
                  <a:ext uri="{FF2B5EF4-FFF2-40B4-BE49-F238E27FC236}">
                    <a16:creationId xmlns:a16="http://schemas.microsoft.com/office/drawing/2014/main" id="{ED180E08-CDCE-4303-9E0A-DF5B94B29F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06853" y="2106619"/>
                <a:ext cx="98425" cy="1320804"/>
              </a:xfrm>
              <a:custGeom>
                <a:avLst/>
                <a:gdLst>
                  <a:gd name="T0" fmla="*/ 26 w 26"/>
                  <a:gd name="T1" fmla="*/ 352 h 352"/>
                  <a:gd name="T2" fmla="*/ 7 w 26"/>
                  <a:gd name="T3" fmla="*/ 213 h 352"/>
                  <a:gd name="T4" fmla="*/ 7 w 26"/>
                  <a:gd name="T5" fmla="*/ 145 h 352"/>
                  <a:gd name="T6" fmla="*/ 0 w 26"/>
                  <a:gd name="T7" fmla="*/ 30 h 352"/>
                  <a:gd name="T8" fmla="*/ 10 w 26"/>
                  <a:gd name="T9" fmla="*/ 0 h 352"/>
                  <a:gd name="T10" fmla="*/ 10 w 26"/>
                  <a:gd name="T11" fmla="*/ 6 h 352"/>
                  <a:gd name="T12" fmla="*/ 26 w 26"/>
                  <a:gd name="T13" fmla="*/ 352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352">
                    <a:moveTo>
                      <a:pt x="26" y="352"/>
                    </a:moveTo>
                    <a:cubicBezTo>
                      <a:pt x="26" y="347"/>
                      <a:pt x="8" y="236"/>
                      <a:pt x="7" y="213"/>
                    </a:cubicBezTo>
                    <a:cubicBezTo>
                      <a:pt x="6" y="189"/>
                      <a:pt x="9" y="165"/>
                      <a:pt x="7" y="145"/>
                    </a:cubicBezTo>
                    <a:cubicBezTo>
                      <a:pt x="5" y="126"/>
                      <a:pt x="0" y="48"/>
                      <a:pt x="0" y="30"/>
                    </a:cubicBezTo>
                    <a:cubicBezTo>
                      <a:pt x="1" y="12"/>
                      <a:pt x="10" y="0"/>
                      <a:pt x="10" y="0"/>
                    </a:cubicBezTo>
                    <a:cubicBezTo>
                      <a:pt x="10" y="6"/>
                      <a:pt x="10" y="6"/>
                      <a:pt x="10" y="6"/>
                    </a:cubicBezTo>
                    <a:lnTo>
                      <a:pt x="26" y="352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29" name="Freeform 171">
                <a:extLst>
                  <a:ext uri="{FF2B5EF4-FFF2-40B4-BE49-F238E27FC236}">
                    <a16:creationId xmlns:a16="http://schemas.microsoft.com/office/drawing/2014/main" id="{6324D736-E705-4FBF-8213-937D12BBDC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0476" y="3135321"/>
                <a:ext cx="222250" cy="58738"/>
              </a:xfrm>
              <a:custGeom>
                <a:avLst/>
                <a:gdLst>
                  <a:gd name="T0" fmla="*/ 0 w 59"/>
                  <a:gd name="T1" fmla="*/ 16 h 16"/>
                  <a:gd name="T2" fmla="*/ 52 w 59"/>
                  <a:gd name="T3" fmla="*/ 7 h 16"/>
                  <a:gd name="T4" fmla="*/ 59 w 59"/>
                  <a:gd name="T5" fmla="*/ 7 h 16"/>
                  <a:gd name="T6" fmla="*/ 0 w 59"/>
                  <a:gd name="T7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9" h="16">
                    <a:moveTo>
                      <a:pt x="0" y="16"/>
                    </a:moveTo>
                    <a:cubicBezTo>
                      <a:pt x="0" y="16"/>
                      <a:pt x="49" y="13"/>
                      <a:pt x="52" y="7"/>
                    </a:cubicBezTo>
                    <a:cubicBezTo>
                      <a:pt x="55" y="0"/>
                      <a:pt x="59" y="3"/>
                      <a:pt x="59" y="7"/>
                    </a:cubicBezTo>
                    <a:cubicBezTo>
                      <a:pt x="58" y="11"/>
                      <a:pt x="0" y="16"/>
                      <a:pt x="0" y="16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30" name="Freeform 172">
                <a:extLst>
                  <a:ext uri="{FF2B5EF4-FFF2-40B4-BE49-F238E27FC236}">
                    <a16:creationId xmlns:a16="http://schemas.microsoft.com/office/drawing/2014/main" id="{D4261979-607F-4FC4-923A-550CECB883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7627" y="3224223"/>
                <a:ext cx="198440" cy="282574"/>
              </a:xfrm>
              <a:custGeom>
                <a:avLst/>
                <a:gdLst>
                  <a:gd name="T0" fmla="*/ 44 w 53"/>
                  <a:gd name="T1" fmla="*/ 0 h 75"/>
                  <a:gd name="T2" fmla="*/ 53 w 53"/>
                  <a:gd name="T3" fmla="*/ 75 h 75"/>
                  <a:gd name="T4" fmla="*/ 24 w 53"/>
                  <a:gd name="T5" fmla="*/ 75 h 75"/>
                  <a:gd name="T6" fmla="*/ 14 w 53"/>
                  <a:gd name="T7" fmla="*/ 69 h 75"/>
                  <a:gd name="T8" fmla="*/ 34 w 53"/>
                  <a:gd name="T9" fmla="*/ 61 h 75"/>
                  <a:gd name="T10" fmla="*/ 22 w 53"/>
                  <a:gd name="T11" fmla="*/ 38 h 75"/>
                  <a:gd name="T12" fmla="*/ 44 w 53"/>
                  <a:gd name="T1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3" h="75">
                    <a:moveTo>
                      <a:pt x="44" y="0"/>
                    </a:moveTo>
                    <a:cubicBezTo>
                      <a:pt x="53" y="75"/>
                      <a:pt x="53" y="75"/>
                      <a:pt x="53" y="75"/>
                    </a:cubicBezTo>
                    <a:cubicBezTo>
                      <a:pt x="24" y="75"/>
                      <a:pt x="24" y="75"/>
                      <a:pt x="24" y="75"/>
                    </a:cubicBezTo>
                    <a:cubicBezTo>
                      <a:pt x="24" y="75"/>
                      <a:pt x="0" y="69"/>
                      <a:pt x="14" y="69"/>
                    </a:cubicBezTo>
                    <a:cubicBezTo>
                      <a:pt x="29" y="68"/>
                      <a:pt x="42" y="73"/>
                      <a:pt x="34" y="61"/>
                    </a:cubicBezTo>
                    <a:cubicBezTo>
                      <a:pt x="27" y="48"/>
                      <a:pt x="6" y="41"/>
                      <a:pt x="22" y="38"/>
                    </a:cubicBezTo>
                    <a:cubicBezTo>
                      <a:pt x="38" y="34"/>
                      <a:pt x="44" y="0"/>
                      <a:pt x="44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31" name="Freeform 173">
                <a:extLst>
                  <a:ext uri="{FF2B5EF4-FFF2-40B4-BE49-F238E27FC236}">
                    <a16:creationId xmlns:a16="http://schemas.microsoft.com/office/drawing/2014/main" id="{22C3E8FB-6159-45F8-AB59-FA02216757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59122" y="2576519"/>
                <a:ext cx="60324" cy="490537"/>
              </a:xfrm>
              <a:custGeom>
                <a:avLst/>
                <a:gdLst>
                  <a:gd name="T0" fmla="*/ 0 w 38"/>
                  <a:gd name="T1" fmla="*/ 0 h 309"/>
                  <a:gd name="T2" fmla="*/ 29 w 38"/>
                  <a:gd name="T3" fmla="*/ 309 h 309"/>
                  <a:gd name="T4" fmla="*/ 38 w 38"/>
                  <a:gd name="T5" fmla="*/ 293 h 309"/>
                  <a:gd name="T6" fmla="*/ 0 w 38"/>
                  <a:gd name="T7" fmla="*/ 0 h 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8" h="309">
                    <a:moveTo>
                      <a:pt x="0" y="0"/>
                    </a:moveTo>
                    <a:lnTo>
                      <a:pt x="29" y="309"/>
                    </a:lnTo>
                    <a:lnTo>
                      <a:pt x="38" y="29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32" name="Freeform 174">
                <a:extLst>
                  <a:ext uri="{FF2B5EF4-FFF2-40B4-BE49-F238E27FC236}">
                    <a16:creationId xmlns:a16="http://schemas.microsoft.com/office/drawing/2014/main" id="{1C9A474C-6FD3-4B73-93D3-666AC33348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157549"/>
                <a:ext cx="288924" cy="93661"/>
              </a:xfrm>
              <a:custGeom>
                <a:avLst/>
                <a:gdLst>
                  <a:gd name="T0" fmla="*/ 0 w 77"/>
                  <a:gd name="T1" fmla="*/ 0 h 25"/>
                  <a:gd name="T2" fmla="*/ 75 w 77"/>
                  <a:gd name="T3" fmla="*/ 10 h 25"/>
                  <a:gd name="T4" fmla="*/ 68 w 77"/>
                  <a:gd name="T5" fmla="*/ 25 h 25"/>
                  <a:gd name="T6" fmla="*/ 0 w 77"/>
                  <a:gd name="T7" fmla="*/ 12 h 25"/>
                  <a:gd name="T8" fmla="*/ 0 w 77"/>
                  <a:gd name="T9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7" h="25">
                    <a:moveTo>
                      <a:pt x="0" y="0"/>
                    </a:moveTo>
                    <a:cubicBezTo>
                      <a:pt x="0" y="0"/>
                      <a:pt x="73" y="9"/>
                      <a:pt x="75" y="10"/>
                    </a:cubicBezTo>
                    <a:cubicBezTo>
                      <a:pt x="77" y="11"/>
                      <a:pt x="68" y="25"/>
                      <a:pt x="68" y="25"/>
                    </a:cubicBezTo>
                    <a:cubicBezTo>
                      <a:pt x="0" y="12"/>
                      <a:pt x="0" y="12"/>
                      <a:pt x="0" y="12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33" name="Freeform 175">
                <a:extLst>
                  <a:ext uri="{FF2B5EF4-FFF2-40B4-BE49-F238E27FC236}">
                    <a16:creationId xmlns:a16="http://schemas.microsoft.com/office/drawing/2014/main" id="{14C0E240-80A1-480C-A0CE-051740A004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333761"/>
                <a:ext cx="242887" cy="236537"/>
              </a:xfrm>
              <a:custGeom>
                <a:avLst/>
                <a:gdLst>
                  <a:gd name="T0" fmla="*/ 65 w 65"/>
                  <a:gd name="T1" fmla="*/ 0 h 63"/>
                  <a:gd name="T2" fmla="*/ 50 w 65"/>
                  <a:gd name="T3" fmla="*/ 60 h 63"/>
                  <a:gd name="T4" fmla="*/ 9 w 65"/>
                  <a:gd name="T5" fmla="*/ 52 h 63"/>
                  <a:gd name="T6" fmla="*/ 18 w 65"/>
                  <a:gd name="T7" fmla="*/ 46 h 63"/>
                  <a:gd name="T8" fmla="*/ 49 w 65"/>
                  <a:gd name="T9" fmla="*/ 46 h 63"/>
                  <a:gd name="T10" fmla="*/ 65 w 65"/>
                  <a:gd name="T11" fmla="*/ 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5" h="63">
                    <a:moveTo>
                      <a:pt x="65" y="0"/>
                    </a:moveTo>
                    <a:cubicBezTo>
                      <a:pt x="50" y="60"/>
                      <a:pt x="50" y="60"/>
                      <a:pt x="50" y="60"/>
                    </a:cubicBezTo>
                    <a:cubicBezTo>
                      <a:pt x="9" y="52"/>
                      <a:pt x="9" y="52"/>
                      <a:pt x="9" y="52"/>
                    </a:cubicBezTo>
                    <a:cubicBezTo>
                      <a:pt x="9" y="52"/>
                      <a:pt x="0" y="47"/>
                      <a:pt x="18" y="46"/>
                    </a:cubicBezTo>
                    <a:cubicBezTo>
                      <a:pt x="36" y="46"/>
                      <a:pt x="48" y="63"/>
                      <a:pt x="49" y="46"/>
                    </a:cubicBezTo>
                    <a:cubicBezTo>
                      <a:pt x="50" y="30"/>
                      <a:pt x="65" y="0"/>
                      <a:pt x="65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34" name="Freeform 176">
                <a:extLst>
                  <a:ext uri="{FF2B5EF4-FFF2-40B4-BE49-F238E27FC236}">
                    <a16:creationId xmlns:a16="http://schemas.microsoft.com/office/drawing/2014/main" id="{4559581F-8C7D-4864-B214-3FDD74C465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0183" y="2201870"/>
                <a:ext cx="41274" cy="168276"/>
              </a:xfrm>
              <a:custGeom>
                <a:avLst/>
                <a:gdLst>
                  <a:gd name="T0" fmla="*/ 0 w 11"/>
                  <a:gd name="T1" fmla="*/ 0 h 45"/>
                  <a:gd name="T2" fmla="*/ 0 w 11"/>
                  <a:gd name="T3" fmla="*/ 21 h 45"/>
                  <a:gd name="T4" fmla="*/ 2 w 11"/>
                  <a:gd name="T5" fmla="*/ 42 h 45"/>
                  <a:gd name="T6" fmla="*/ 10 w 11"/>
                  <a:gd name="T7" fmla="*/ 5 h 45"/>
                  <a:gd name="T8" fmla="*/ 0 w 11"/>
                  <a:gd name="T9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45">
                    <a:moveTo>
                      <a:pt x="0" y="0"/>
                    </a:moveTo>
                    <a:cubicBezTo>
                      <a:pt x="0" y="5"/>
                      <a:pt x="0" y="13"/>
                      <a:pt x="0" y="21"/>
                    </a:cubicBezTo>
                    <a:cubicBezTo>
                      <a:pt x="1" y="31"/>
                      <a:pt x="2" y="41"/>
                      <a:pt x="2" y="42"/>
                    </a:cubicBezTo>
                    <a:cubicBezTo>
                      <a:pt x="4" y="45"/>
                      <a:pt x="11" y="8"/>
                      <a:pt x="10" y="5"/>
                    </a:cubicBezTo>
                    <a:cubicBezTo>
                      <a:pt x="8" y="2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35" name="Freeform 177">
                <a:extLst>
                  <a:ext uri="{FF2B5EF4-FFF2-40B4-BE49-F238E27FC236}">
                    <a16:creationId xmlns:a16="http://schemas.microsoft.com/office/drawing/2014/main" id="{1FCC6DEA-625C-4DBE-BA95-C04122F916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1758" y="2786069"/>
                <a:ext cx="150812" cy="352425"/>
              </a:xfrm>
              <a:custGeom>
                <a:avLst/>
                <a:gdLst>
                  <a:gd name="T0" fmla="*/ 0 w 40"/>
                  <a:gd name="T1" fmla="*/ 0 h 94"/>
                  <a:gd name="T2" fmla="*/ 20 w 40"/>
                  <a:gd name="T3" fmla="*/ 64 h 94"/>
                  <a:gd name="T4" fmla="*/ 36 w 40"/>
                  <a:gd name="T5" fmla="*/ 82 h 94"/>
                  <a:gd name="T6" fmla="*/ 14 w 40"/>
                  <a:gd name="T7" fmla="*/ 26 h 94"/>
                  <a:gd name="T8" fmla="*/ 0 w 40"/>
                  <a:gd name="T9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94">
                    <a:moveTo>
                      <a:pt x="0" y="0"/>
                    </a:moveTo>
                    <a:cubicBezTo>
                      <a:pt x="0" y="0"/>
                      <a:pt x="12" y="47"/>
                      <a:pt x="20" y="64"/>
                    </a:cubicBezTo>
                    <a:cubicBezTo>
                      <a:pt x="28" y="82"/>
                      <a:pt x="40" y="94"/>
                      <a:pt x="36" y="82"/>
                    </a:cubicBezTo>
                    <a:cubicBezTo>
                      <a:pt x="32" y="69"/>
                      <a:pt x="20" y="36"/>
                      <a:pt x="14" y="26"/>
                    </a:cubicBezTo>
                    <a:cubicBezTo>
                      <a:pt x="9" y="1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36" name="Freeform 178">
                <a:extLst>
                  <a:ext uri="{FF2B5EF4-FFF2-40B4-BE49-F238E27FC236}">
                    <a16:creationId xmlns:a16="http://schemas.microsoft.com/office/drawing/2014/main" id="{47DE4423-F4C2-4E8E-960B-CFD4FF126B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9736" y="2860684"/>
                <a:ext cx="49214" cy="247650"/>
              </a:xfrm>
              <a:custGeom>
                <a:avLst/>
                <a:gdLst>
                  <a:gd name="T0" fmla="*/ 0 w 13"/>
                  <a:gd name="T1" fmla="*/ 0 h 66"/>
                  <a:gd name="T2" fmla="*/ 10 w 13"/>
                  <a:gd name="T3" fmla="*/ 31 h 66"/>
                  <a:gd name="T4" fmla="*/ 6 w 13"/>
                  <a:gd name="T5" fmla="*/ 50 h 66"/>
                  <a:gd name="T6" fmla="*/ 0 w 13"/>
                  <a:gd name="T7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66">
                    <a:moveTo>
                      <a:pt x="0" y="0"/>
                    </a:moveTo>
                    <a:cubicBezTo>
                      <a:pt x="0" y="0"/>
                      <a:pt x="13" y="15"/>
                      <a:pt x="10" y="31"/>
                    </a:cubicBezTo>
                    <a:cubicBezTo>
                      <a:pt x="8" y="47"/>
                      <a:pt x="5" y="66"/>
                      <a:pt x="6" y="50"/>
                    </a:cubicBezTo>
                    <a:cubicBezTo>
                      <a:pt x="6" y="3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37" name="Freeform 188">
                <a:extLst>
                  <a:ext uri="{FF2B5EF4-FFF2-40B4-BE49-F238E27FC236}">
                    <a16:creationId xmlns:a16="http://schemas.microsoft.com/office/drawing/2014/main" id="{3EBC445E-097C-473E-991E-4B27BFCF77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01994" y="1544640"/>
                <a:ext cx="349252" cy="131762"/>
              </a:xfrm>
              <a:custGeom>
                <a:avLst/>
                <a:gdLst>
                  <a:gd name="T0" fmla="*/ 0 w 93"/>
                  <a:gd name="T1" fmla="*/ 0 h 35"/>
                  <a:gd name="T2" fmla="*/ 33 w 93"/>
                  <a:gd name="T3" fmla="*/ 29 h 35"/>
                  <a:gd name="T4" fmla="*/ 68 w 93"/>
                  <a:gd name="T5" fmla="*/ 24 h 35"/>
                  <a:gd name="T6" fmla="*/ 85 w 93"/>
                  <a:gd name="T7" fmla="*/ 7 h 35"/>
                  <a:gd name="T8" fmla="*/ 92 w 93"/>
                  <a:gd name="T9" fmla="*/ 6 h 35"/>
                  <a:gd name="T10" fmla="*/ 85 w 93"/>
                  <a:gd name="T11" fmla="*/ 19 h 35"/>
                  <a:gd name="T12" fmla="*/ 67 w 93"/>
                  <a:gd name="T13" fmla="*/ 32 h 35"/>
                  <a:gd name="T14" fmla="*/ 28 w 93"/>
                  <a:gd name="T15" fmla="*/ 32 h 35"/>
                  <a:gd name="T16" fmla="*/ 0 w 93"/>
                  <a:gd name="T17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3" h="35">
                    <a:moveTo>
                      <a:pt x="0" y="0"/>
                    </a:moveTo>
                    <a:cubicBezTo>
                      <a:pt x="2" y="4"/>
                      <a:pt x="21" y="25"/>
                      <a:pt x="33" y="29"/>
                    </a:cubicBezTo>
                    <a:cubicBezTo>
                      <a:pt x="45" y="32"/>
                      <a:pt x="63" y="29"/>
                      <a:pt x="68" y="24"/>
                    </a:cubicBezTo>
                    <a:cubicBezTo>
                      <a:pt x="73" y="19"/>
                      <a:pt x="84" y="9"/>
                      <a:pt x="85" y="7"/>
                    </a:cubicBezTo>
                    <a:cubicBezTo>
                      <a:pt x="86" y="5"/>
                      <a:pt x="93" y="1"/>
                      <a:pt x="92" y="6"/>
                    </a:cubicBezTo>
                    <a:cubicBezTo>
                      <a:pt x="91" y="10"/>
                      <a:pt x="89" y="14"/>
                      <a:pt x="85" y="19"/>
                    </a:cubicBezTo>
                    <a:cubicBezTo>
                      <a:pt x="82" y="24"/>
                      <a:pt x="75" y="33"/>
                      <a:pt x="67" y="32"/>
                    </a:cubicBezTo>
                    <a:cubicBezTo>
                      <a:pt x="58" y="32"/>
                      <a:pt x="36" y="35"/>
                      <a:pt x="28" y="32"/>
                    </a:cubicBezTo>
                    <a:cubicBezTo>
                      <a:pt x="19" y="3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38" name="Freeform 103">
                <a:extLst>
                  <a:ext uri="{FF2B5EF4-FFF2-40B4-BE49-F238E27FC236}">
                    <a16:creationId xmlns:a16="http://schemas.microsoft.com/office/drawing/2014/main" id="{AC5A0851-3B90-46F7-A555-8B16FA63C8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3697" y="1061826"/>
                <a:ext cx="226796" cy="66888"/>
              </a:xfrm>
              <a:custGeom>
                <a:avLst/>
                <a:gdLst>
                  <a:gd name="T0" fmla="*/ 9 w 49"/>
                  <a:gd name="T1" fmla="*/ 1 h 23"/>
                  <a:gd name="T2" fmla="*/ 24 w 49"/>
                  <a:gd name="T3" fmla="*/ 8 h 23"/>
                  <a:gd name="T4" fmla="*/ 31 w 49"/>
                  <a:gd name="T5" fmla="*/ 7 h 23"/>
                  <a:gd name="T6" fmla="*/ 44 w 49"/>
                  <a:gd name="T7" fmla="*/ 17 h 23"/>
                  <a:gd name="T8" fmla="*/ 37 w 49"/>
                  <a:gd name="T9" fmla="*/ 17 h 23"/>
                  <a:gd name="T10" fmla="*/ 13 w 49"/>
                  <a:gd name="T11" fmla="*/ 10 h 23"/>
                  <a:gd name="T12" fmla="*/ 9 w 49"/>
                  <a:gd name="T13" fmla="*/ 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" h="23">
                    <a:moveTo>
                      <a:pt x="9" y="1"/>
                    </a:moveTo>
                    <a:cubicBezTo>
                      <a:pt x="9" y="1"/>
                      <a:pt x="20" y="7"/>
                      <a:pt x="24" y="8"/>
                    </a:cubicBezTo>
                    <a:cubicBezTo>
                      <a:pt x="28" y="9"/>
                      <a:pt x="31" y="9"/>
                      <a:pt x="31" y="7"/>
                    </a:cubicBezTo>
                    <a:cubicBezTo>
                      <a:pt x="31" y="4"/>
                      <a:pt x="40" y="11"/>
                      <a:pt x="44" y="17"/>
                    </a:cubicBezTo>
                    <a:cubicBezTo>
                      <a:pt x="49" y="23"/>
                      <a:pt x="44" y="21"/>
                      <a:pt x="37" y="17"/>
                    </a:cubicBezTo>
                    <a:cubicBezTo>
                      <a:pt x="30" y="13"/>
                      <a:pt x="20" y="15"/>
                      <a:pt x="13" y="10"/>
                    </a:cubicBezTo>
                    <a:cubicBezTo>
                      <a:pt x="6" y="5"/>
                      <a:pt x="0" y="0"/>
                      <a:pt x="9" y="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39" name="Freeform 104">
                <a:extLst>
                  <a:ext uri="{FF2B5EF4-FFF2-40B4-BE49-F238E27FC236}">
                    <a16:creationId xmlns:a16="http://schemas.microsoft.com/office/drawing/2014/main" id="{B19138BD-1CF4-410B-9153-D273ACA08F19}"/>
                  </a:ext>
                </a:extLst>
              </p:cNvPr>
              <p:cNvSpPr>
                <a:spLocks/>
              </p:cNvSpPr>
              <p:nvPr/>
            </p:nvSpPr>
            <p:spPr bwMode="auto">
              <a:xfrm rot="18643239">
                <a:off x="3555600" y="1040771"/>
                <a:ext cx="87944" cy="175885"/>
              </a:xfrm>
              <a:custGeom>
                <a:avLst/>
                <a:gdLst>
                  <a:gd name="T0" fmla="*/ 12 w 30"/>
                  <a:gd name="T1" fmla="*/ 25 h 60"/>
                  <a:gd name="T2" fmla="*/ 20 w 30"/>
                  <a:gd name="T3" fmla="*/ 19 h 60"/>
                  <a:gd name="T4" fmla="*/ 22 w 30"/>
                  <a:gd name="T5" fmla="*/ 4 h 60"/>
                  <a:gd name="T6" fmla="*/ 24 w 30"/>
                  <a:gd name="T7" fmla="*/ 26 h 60"/>
                  <a:gd name="T8" fmla="*/ 21 w 30"/>
                  <a:gd name="T9" fmla="*/ 37 h 60"/>
                  <a:gd name="T10" fmla="*/ 14 w 30"/>
                  <a:gd name="T11" fmla="*/ 48 h 60"/>
                  <a:gd name="T12" fmla="*/ 8 w 30"/>
                  <a:gd name="T13" fmla="*/ 35 h 60"/>
                  <a:gd name="T14" fmla="*/ 12 w 30"/>
                  <a:gd name="T15" fmla="*/ 25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60">
                    <a:moveTo>
                      <a:pt x="12" y="25"/>
                    </a:moveTo>
                    <a:cubicBezTo>
                      <a:pt x="12" y="25"/>
                      <a:pt x="17" y="24"/>
                      <a:pt x="20" y="19"/>
                    </a:cubicBezTo>
                    <a:cubicBezTo>
                      <a:pt x="24" y="14"/>
                      <a:pt x="22" y="8"/>
                      <a:pt x="22" y="4"/>
                    </a:cubicBezTo>
                    <a:cubicBezTo>
                      <a:pt x="21" y="0"/>
                      <a:pt x="30" y="16"/>
                      <a:pt x="24" y="26"/>
                    </a:cubicBezTo>
                    <a:cubicBezTo>
                      <a:pt x="24" y="26"/>
                      <a:pt x="21" y="34"/>
                      <a:pt x="21" y="37"/>
                    </a:cubicBezTo>
                    <a:cubicBezTo>
                      <a:pt x="21" y="40"/>
                      <a:pt x="20" y="46"/>
                      <a:pt x="14" y="48"/>
                    </a:cubicBezTo>
                    <a:cubicBezTo>
                      <a:pt x="8" y="50"/>
                      <a:pt x="0" y="60"/>
                      <a:pt x="8" y="35"/>
                    </a:cubicBezTo>
                    <a:lnTo>
                      <a:pt x="12" y="25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428085" tIns="214043" rIns="428085" bIns="214043"/>
              <a:lstStyle/>
              <a:p>
                <a:pPr defTabSz="428075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</p:grpSp>
      <p:sp>
        <p:nvSpPr>
          <p:cNvPr id="392" name="Ellipse 391">
            <a:extLst>
              <a:ext uri="{FF2B5EF4-FFF2-40B4-BE49-F238E27FC236}">
                <a16:creationId xmlns:a16="http://schemas.microsoft.com/office/drawing/2014/main" id="{AFFC4EF1-204B-4D8D-ABF1-CE7CF44EC7FE}"/>
              </a:ext>
            </a:extLst>
          </p:cNvPr>
          <p:cNvSpPr/>
          <p:nvPr/>
        </p:nvSpPr>
        <p:spPr>
          <a:xfrm>
            <a:off x="9410575" y="13637738"/>
            <a:ext cx="3240087" cy="3240088"/>
          </a:xfrm>
          <a:prstGeom prst="ellipse">
            <a:avLst/>
          </a:prstGeom>
          <a:solidFill>
            <a:schemeClr val="bg1"/>
          </a:solidFill>
          <a:ln w="254000">
            <a:solidFill>
              <a:srgbClr val="CCCC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68538" tIns="168538" rIns="168538" bIns="168538" anchor="ctr"/>
          <a:lstStyle/>
          <a:p>
            <a:pPr algn="ctr" defTabSz="428075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400" b="1" dirty="0">
                <a:solidFill>
                  <a:srgbClr val="CCCC00"/>
                </a:solidFill>
                <a:latin typeface="Michelin SemiBold"/>
              </a:rPr>
              <a:t>PRODUCT</a:t>
            </a:r>
          </a:p>
          <a:p>
            <a:pPr algn="ctr" defTabSz="428075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400" b="1" dirty="0">
                <a:solidFill>
                  <a:srgbClr val="CCCC00"/>
                </a:solidFill>
                <a:latin typeface="Michelin SemiBold"/>
              </a:rPr>
              <a:t>OWNER</a:t>
            </a:r>
          </a:p>
        </p:txBody>
      </p:sp>
      <p:sp>
        <p:nvSpPr>
          <p:cNvPr id="395" name="ZoneTexte 394">
            <a:extLst>
              <a:ext uri="{FF2B5EF4-FFF2-40B4-BE49-F238E27FC236}">
                <a16:creationId xmlns:a16="http://schemas.microsoft.com/office/drawing/2014/main" id="{8696155D-4931-46A0-8588-AD6806C991D8}"/>
              </a:ext>
            </a:extLst>
          </p:cNvPr>
          <p:cNvSpPr txBox="1"/>
          <p:nvPr/>
        </p:nvSpPr>
        <p:spPr>
          <a:xfrm>
            <a:off x="8729114" y="9191875"/>
            <a:ext cx="2833687" cy="69691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 defTabSz="4280752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4800" b="1" kern="0" dirty="0">
                <a:solidFill>
                  <a:srgbClr val="44546A"/>
                </a:solidFill>
                <a:latin typeface="Calibri"/>
              </a:rPr>
              <a:t>PROMOTE</a:t>
            </a:r>
          </a:p>
        </p:txBody>
      </p:sp>
      <p:sp>
        <p:nvSpPr>
          <p:cNvPr id="396" name="Rectangle 395">
            <a:extLst>
              <a:ext uri="{FF2B5EF4-FFF2-40B4-BE49-F238E27FC236}">
                <a16:creationId xmlns:a16="http://schemas.microsoft.com/office/drawing/2014/main" id="{CD5BB7FA-792A-4D41-85CB-46F90624A7D5}"/>
              </a:ext>
            </a:extLst>
          </p:cNvPr>
          <p:cNvSpPr/>
          <p:nvPr/>
        </p:nvSpPr>
        <p:spPr>
          <a:xfrm>
            <a:off x="5490614" y="9725275"/>
            <a:ext cx="9158287" cy="1284006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defTabSz="4280752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3200" kern="0" dirty="0">
                <a:solidFill>
                  <a:srgbClr val="44546A"/>
                </a:solidFill>
                <a:latin typeface="+mn-lt"/>
              </a:rPr>
              <a:t>MARKETING ARCHITECTURE</a:t>
            </a:r>
          </a:p>
          <a:p>
            <a:pPr algn="ctr" defTabSz="4280752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3200" kern="0" dirty="0">
                <a:solidFill>
                  <a:srgbClr val="44546A"/>
                </a:solidFill>
                <a:latin typeface="+mn-lt"/>
              </a:rPr>
              <a:t>PRODUCT  SERVICES</a:t>
            </a:r>
          </a:p>
          <a:p>
            <a:pPr algn="ctr" defTabSz="4280752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3200" kern="0" dirty="0">
                <a:solidFill>
                  <a:srgbClr val="44546A"/>
                </a:solidFill>
                <a:latin typeface="+mn-lt"/>
              </a:rPr>
              <a:t>SERVICE LEVEL</a:t>
            </a:r>
          </a:p>
        </p:txBody>
      </p:sp>
      <p:sp>
        <p:nvSpPr>
          <p:cNvPr id="289" name="Ellipse 288">
            <a:extLst>
              <a:ext uri="{FF2B5EF4-FFF2-40B4-BE49-F238E27FC236}">
                <a16:creationId xmlns:a16="http://schemas.microsoft.com/office/drawing/2014/main" id="{3646D480-31A8-4285-93E5-EDAE1F1967AA}"/>
              </a:ext>
            </a:extLst>
          </p:cNvPr>
          <p:cNvSpPr/>
          <p:nvPr/>
        </p:nvSpPr>
        <p:spPr>
          <a:xfrm>
            <a:off x="8310437" y="11847038"/>
            <a:ext cx="2541588" cy="2549525"/>
          </a:xfrm>
          <a:prstGeom prst="ellipse">
            <a:avLst/>
          </a:prstGeom>
          <a:solidFill>
            <a:schemeClr val="bg1"/>
          </a:solidFill>
          <a:ln w="152400">
            <a:solidFill>
              <a:srgbClr val="CCCC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68538" tIns="168538" rIns="168538" bIns="168538" anchor="ctr"/>
          <a:lstStyle/>
          <a:p>
            <a:pPr algn="ctr" defTabSz="428075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000" b="1" dirty="0">
                <a:solidFill>
                  <a:srgbClr val="CCCC00"/>
                </a:solidFill>
                <a:latin typeface="Michelin SemiBold"/>
              </a:rPr>
              <a:t>BUSINESS</a:t>
            </a:r>
          </a:p>
          <a:p>
            <a:pPr algn="ctr" defTabSz="428075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000" b="1" dirty="0">
                <a:solidFill>
                  <a:srgbClr val="CCCC00"/>
                </a:solidFill>
                <a:latin typeface="Michelin SemiBold"/>
              </a:rPr>
              <a:t>SPONSOR</a:t>
            </a:r>
          </a:p>
        </p:txBody>
      </p:sp>
      <p:sp>
        <p:nvSpPr>
          <p:cNvPr id="594" name="Ellipse 593">
            <a:extLst>
              <a:ext uri="{FF2B5EF4-FFF2-40B4-BE49-F238E27FC236}">
                <a16:creationId xmlns:a16="http://schemas.microsoft.com/office/drawing/2014/main" id="{20315BA0-1EFC-4C40-BA2A-0A5E383C0346}"/>
              </a:ext>
            </a:extLst>
          </p:cNvPr>
          <p:cNvSpPr/>
          <p:nvPr/>
        </p:nvSpPr>
        <p:spPr>
          <a:xfrm>
            <a:off x="8140575" y="15814201"/>
            <a:ext cx="2371725" cy="2386012"/>
          </a:xfrm>
          <a:prstGeom prst="ellipse">
            <a:avLst/>
          </a:prstGeom>
          <a:solidFill>
            <a:schemeClr val="bg1"/>
          </a:solidFill>
          <a:ln w="152400">
            <a:solidFill>
              <a:srgbClr val="CCCC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68538" tIns="168538" rIns="168538" bIns="168538" anchor="ctr"/>
          <a:lstStyle/>
          <a:p>
            <a:pPr algn="ctr" defTabSz="428075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000" b="1" dirty="0">
                <a:solidFill>
                  <a:srgbClr val="CCCC00"/>
                </a:solidFill>
                <a:latin typeface="Michelin SemiBold"/>
              </a:rPr>
              <a:t>END USER*</a:t>
            </a:r>
          </a:p>
        </p:txBody>
      </p:sp>
      <p:sp>
        <p:nvSpPr>
          <p:cNvPr id="403" name="Ellipse 402">
            <a:extLst>
              <a:ext uri="{FF2B5EF4-FFF2-40B4-BE49-F238E27FC236}">
                <a16:creationId xmlns:a16="http://schemas.microsoft.com/office/drawing/2014/main" id="{A4A3380C-A7DB-43E8-B25D-C4069B8A37D3}"/>
              </a:ext>
            </a:extLst>
          </p:cNvPr>
          <p:cNvSpPr/>
          <p:nvPr/>
        </p:nvSpPr>
        <p:spPr>
          <a:xfrm>
            <a:off x="276100" y="25432863"/>
            <a:ext cx="1517650" cy="1420813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68538" tIns="168538" rIns="168538" bIns="168538" anchor="ctr"/>
          <a:lstStyle/>
          <a:p>
            <a:pPr algn="ctr" defTabSz="428075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400" b="1" dirty="0">
                <a:solidFill>
                  <a:prstClr val="white">
                    <a:lumMod val="50000"/>
                  </a:prstClr>
                </a:solidFill>
                <a:latin typeface="Michelin SemiBold"/>
              </a:rPr>
              <a:t>END USER*</a:t>
            </a:r>
          </a:p>
          <a:p>
            <a:pPr defTabSz="417643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400" dirty="0">
                <a:solidFill>
                  <a:schemeClr val="tx1"/>
                </a:solidFill>
              </a:rPr>
              <a:t>- </a:t>
            </a:r>
            <a:r>
              <a:rPr lang="fr-FR" sz="1400" b="1" dirty="0">
                <a:solidFill>
                  <a:prstClr val="white">
                    <a:lumMod val="50000"/>
                  </a:prstClr>
                </a:solidFill>
                <a:latin typeface="Michelin SemiBold"/>
              </a:rPr>
              <a:t>CLIENT</a:t>
            </a:r>
          </a:p>
          <a:p>
            <a:pPr defTabSz="417643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400" b="1" dirty="0">
                <a:solidFill>
                  <a:prstClr val="white">
                    <a:lumMod val="50000"/>
                  </a:prstClr>
                </a:solidFill>
                <a:latin typeface="Michelin SemiBold"/>
              </a:rPr>
              <a:t>- BUSINESS</a:t>
            </a:r>
          </a:p>
          <a:p>
            <a:pPr defTabSz="417643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400" b="1" dirty="0">
                <a:solidFill>
                  <a:prstClr val="white">
                    <a:lumMod val="50000"/>
                  </a:prstClr>
                </a:solidFill>
                <a:latin typeface="Michelin SemiBold"/>
              </a:rPr>
              <a:t>- EMPLOYEE</a:t>
            </a:r>
          </a:p>
          <a:p>
            <a:pPr defTabSz="417643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400" b="1" dirty="0">
                <a:solidFill>
                  <a:prstClr val="white">
                    <a:lumMod val="50000"/>
                  </a:prstClr>
                </a:solidFill>
                <a:latin typeface="Michelin SemiBold"/>
              </a:rPr>
              <a:t>- PARTNER</a:t>
            </a:r>
          </a:p>
        </p:txBody>
      </p:sp>
      <p:sp>
        <p:nvSpPr>
          <p:cNvPr id="412" name="Rectangle 411">
            <a:extLst>
              <a:ext uri="{FF2B5EF4-FFF2-40B4-BE49-F238E27FC236}">
                <a16:creationId xmlns:a16="http://schemas.microsoft.com/office/drawing/2014/main" id="{E4C4A36D-67A4-4FF0-B4A1-404090566866}"/>
              </a:ext>
            </a:extLst>
          </p:cNvPr>
          <p:cNvSpPr/>
          <p:nvPr/>
        </p:nvSpPr>
        <p:spPr>
          <a:xfrm>
            <a:off x="4763" y="27764695"/>
            <a:ext cx="42803762" cy="2538412"/>
          </a:xfrm>
          <a:prstGeom prst="rect">
            <a:avLst/>
          </a:prstGeom>
          <a:solidFill>
            <a:srgbClr val="CCC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17643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5400" dirty="0"/>
          </a:p>
        </p:txBody>
      </p:sp>
      <p:pic>
        <p:nvPicPr>
          <p:cNvPr id="592" name="Graphique 591">
            <a:extLst>
              <a:ext uri="{FF2B5EF4-FFF2-40B4-BE49-F238E27FC236}">
                <a16:creationId xmlns:a16="http://schemas.microsoft.com/office/drawing/2014/main" id="{606F736C-556B-4756-8E31-19AF09D2E0C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4404267" y="2153182"/>
            <a:ext cx="3244842" cy="3240000"/>
          </a:xfrm>
          <a:prstGeom prst="rect">
            <a:avLst/>
          </a:prstGeom>
        </p:spPr>
      </p:pic>
      <p:pic>
        <p:nvPicPr>
          <p:cNvPr id="597" name="Graphique 596">
            <a:extLst>
              <a:ext uri="{FF2B5EF4-FFF2-40B4-BE49-F238E27FC236}">
                <a16:creationId xmlns:a16="http://schemas.microsoft.com/office/drawing/2014/main" id="{580215A2-3682-499C-95B6-C00C84CAB20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0610732" y="12819621"/>
            <a:ext cx="3244843" cy="3240000"/>
          </a:xfrm>
          <a:prstGeom prst="rect">
            <a:avLst/>
          </a:prstGeom>
        </p:spPr>
      </p:pic>
      <p:pic>
        <p:nvPicPr>
          <p:cNvPr id="4" name="Graphique 3">
            <a:extLst>
              <a:ext uri="{FF2B5EF4-FFF2-40B4-BE49-F238E27FC236}">
                <a16:creationId xmlns:a16="http://schemas.microsoft.com/office/drawing/2014/main" id="{4277A505-41B6-4F06-8792-FC7EAC1891C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8929994" y="11283213"/>
            <a:ext cx="4680000" cy="4680000"/>
          </a:xfrm>
          <a:prstGeom prst="rect">
            <a:avLst/>
          </a:prstGeom>
        </p:spPr>
      </p:pic>
      <p:grpSp>
        <p:nvGrpSpPr>
          <p:cNvPr id="598" name="Groupe 597">
            <a:extLst>
              <a:ext uri="{FF2B5EF4-FFF2-40B4-BE49-F238E27FC236}">
                <a16:creationId xmlns:a16="http://schemas.microsoft.com/office/drawing/2014/main" id="{DFAA945F-3023-46B4-A66F-897EDA8FB67F}"/>
              </a:ext>
            </a:extLst>
          </p:cNvPr>
          <p:cNvGrpSpPr/>
          <p:nvPr/>
        </p:nvGrpSpPr>
        <p:grpSpPr>
          <a:xfrm>
            <a:off x="32951828" y="20052268"/>
            <a:ext cx="2969546" cy="2497137"/>
            <a:chOff x="29190924" y="17133888"/>
            <a:chExt cx="2969546" cy="2497137"/>
          </a:xfrm>
        </p:grpSpPr>
        <p:sp>
          <p:nvSpPr>
            <p:cNvPr id="675" name="Ellipse 674">
              <a:extLst>
                <a:ext uri="{FF2B5EF4-FFF2-40B4-BE49-F238E27FC236}">
                  <a16:creationId xmlns:a16="http://schemas.microsoft.com/office/drawing/2014/main" id="{A8759165-2E26-42AE-80A4-70045B5562BB}"/>
                </a:ext>
              </a:extLst>
            </p:cNvPr>
            <p:cNvSpPr/>
            <p:nvPr/>
          </p:nvSpPr>
          <p:spPr bwMode="auto">
            <a:xfrm>
              <a:off x="29190924" y="17565766"/>
              <a:ext cx="2969546" cy="2065259"/>
            </a:xfrm>
            <a:prstGeom prst="ellipse">
              <a:avLst/>
            </a:prstGeom>
            <a:solidFill>
              <a:srgbClr val="00B0F0"/>
            </a:solidFill>
            <a:ln w="76200">
              <a:noFill/>
              <a:round/>
              <a:headEnd/>
              <a:tailEnd/>
            </a:ln>
            <a:effectLst>
              <a:outerShdw blurRad="419100" dist="38100" dir="5400000" sx="107000" sy="107000" algn="t" rotWithShape="0">
                <a:prstClr val="black">
                  <a:alpha val="34000"/>
                </a:prstClr>
              </a:outerShdw>
            </a:effectLst>
            <a:scene3d>
              <a:camera prst="perspectiveRelaxedModerately">
                <a:rot lat="17390630" lon="0" rev="0"/>
              </a:camera>
              <a:lightRig rig="threePt" dir="t"/>
            </a:scene3d>
            <a:sp3d extrusionH="190500" prstMaterial="matte"/>
          </p:spPr>
          <p:txBody>
            <a:bodyPr lIns="0" tIns="0" rIns="0" bIns="0" anchor="ctr"/>
            <a:lstStyle/>
            <a:p>
              <a:pPr algn="ctr" defTabSz="914378" eaLnBrk="1" fontAlgn="auto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4000" b="1" kern="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pic>
          <p:nvPicPr>
            <p:cNvPr id="676" name="_effect" descr="C:\Users\marc.h\Desktop\Schatten-TEST.png">
              <a:extLst>
                <a:ext uri="{FF2B5EF4-FFF2-40B4-BE49-F238E27FC236}">
                  <a16:creationId xmlns:a16="http://schemas.microsoft.com/office/drawing/2014/main" id="{8B385B2D-FEEF-423D-B13B-67265B35EDB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 flipH="1">
              <a:off x="29671964" y="18521364"/>
              <a:ext cx="2006602" cy="295277"/>
            </a:xfrm>
            <a:prstGeom prst="rect">
              <a:avLst/>
            </a:prstGeom>
            <a:solidFill>
              <a:srgbClr val="00B0F0"/>
            </a:solidFill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</p:pic>
        <p:grpSp>
          <p:nvGrpSpPr>
            <p:cNvPr id="678" name="Gruppieren 96">
              <a:extLst>
                <a:ext uri="{FF2B5EF4-FFF2-40B4-BE49-F238E27FC236}">
                  <a16:creationId xmlns:a16="http://schemas.microsoft.com/office/drawing/2014/main" id="{1526AD9D-E574-42C2-9415-BA410EA0305B}"/>
                </a:ext>
              </a:extLst>
            </p:cNvPr>
            <p:cNvGrpSpPr/>
            <p:nvPr/>
          </p:nvGrpSpPr>
          <p:grpSpPr bwMode="auto">
            <a:xfrm>
              <a:off x="29643239" y="17193892"/>
              <a:ext cx="725032" cy="1464625"/>
              <a:chOff x="2519371" y="955678"/>
              <a:chExt cx="1695457" cy="4968890"/>
            </a:xfrm>
            <a:solidFill>
              <a:schemeClr val="tx1"/>
            </a:solidFill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grpSpPr>
          <p:sp>
            <p:nvSpPr>
              <p:cNvPr id="721" name="Freeform 156">
                <a:extLst>
                  <a:ext uri="{FF2B5EF4-FFF2-40B4-BE49-F238E27FC236}">
                    <a16:creationId xmlns:a16="http://schemas.microsoft.com/office/drawing/2014/main" id="{1F38D633-0CB0-4E48-BFB2-987E37C47F7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84626" y="3435360"/>
                <a:ext cx="269878" cy="404813"/>
              </a:xfrm>
              <a:custGeom>
                <a:avLst/>
                <a:gdLst>
                  <a:gd name="T0" fmla="*/ 29 w 72"/>
                  <a:gd name="T1" fmla="*/ 0 h 108"/>
                  <a:gd name="T2" fmla="*/ 37 w 72"/>
                  <a:gd name="T3" fmla="*/ 0 h 108"/>
                  <a:gd name="T4" fmla="*/ 68 w 72"/>
                  <a:gd name="T5" fmla="*/ 6 h 108"/>
                  <a:gd name="T6" fmla="*/ 70 w 72"/>
                  <a:gd name="T7" fmla="*/ 58 h 108"/>
                  <a:gd name="T8" fmla="*/ 60 w 72"/>
                  <a:gd name="T9" fmla="*/ 78 h 108"/>
                  <a:gd name="T10" fmla="*/ 14 w 72"/>
                  <a:gd name="T11" fmla="*/ 108 h 108"/>
                  <a:gd name="T12" fmla="*/ 5 w 72"/>
                  <a:gd name="T13" fmla="*/ 102 h 108"/>
                  <a:gd name="T14" fmla="*/ 13 w 72"/>
                  <a:gd name="T15" fmla="*/ 80 h 108"/>
                  <a:gd name="T16" fmla="*/ 15 w 72"/>
                  <a:gd name="T17" fmla="*/ 6 h 108"/>
                  <a:gd name="T18" fmla="*/ 29 w 72"/>
                  <a:gd name="T19" fmla="*/ 0 h 108"/>
                  <a:gd name="T20" fmla="*/ 28 w 72"/>
                  <a:gd name="T21" fmla="*/ 81 h 108"/>
                  <a:gd name="T22" fmla="*/ 41 w 72"/>
                  <a:gd name="T23" fmla="*/ 53 h 108"/>
                  <a:gd name="T24" fmla="*/ 33 w 72"/>
                  <a:gd name="T25" fmla="*/ 51 h 108"/>
                  <a:gd name="T26" fmla="*/ 28 w 72"/>
                  <a:gd name="T27" fmla="*/ 81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2" h="108">
                    <a:moveTo>
                      <a:pt x="29" y="0"/>
                    </a:moveTo>
                    <a:cubicBezTo>
                      <a:pt x="32" y="0"/>
                      <a:pt x="34" y="0"/>
                      <a:pt x="37" y="0"/>
                    </a:cubicBezTo>
                    <a:cubicBezTo>
                      <a:pt x="45" y="3"/>
                      <a:pt x="60" y="2"/>
                      <a:pt x="68" y="6"/>
                    </a:cubicBezTo>
                    <a:cubicBezTo>
                      <a:pt x="67" y="23"/>
                      <a:pt x="72" y="43"/>
                      <a:pt x="70" y="58"/>
                    </a:cubicBezTo>
                    <a:cubicBezTo>
                      <a:pt x="68" y="65"/>
                      <a:pt x="63" y="72"/>
                      <a:pt x="60" y="78"/>
                    </a:cubicBezTo>
                    <a:cubicBezTo>
                      <a:pt x="49" y="98"/>
                      <a:pt x="39" y="102"/>
                      <a:pt x="14" y="108"/>
                    </a:cubicBezTo>
                    <a:cubicBezTo>
                      <a:pt x="17" y="101"/>
                      <a:pt x="5" y="107"/>
                      <a:pt x="5" y="102"/>
                    </a:cubicBezTo>
                    <a:cubicBezTo>
                      <a:pt x="0" y="90"/>
                      <a:pt x="6" y="87"/>
                      <a:pt x="13" y="80"/>
                    </a:cubicBezTo>
                    <a:cubicBezTo>
                      <a:pt x="15" y="57"/>
                      <a:pt x="13" y="28"/>
                      <a:pt x="15" y="6"/>
                    </a:cubicBezTo>
                    <a:cubicBezTo>
                      <a:pt x="20" y="3"/>
                      <a:pt x="29" y="6"/>
                      <a:pt x="29" y="0"/>
                    </a:cubicBezTo>
                    <a:close/>
                    <a:moveTo>
                      <a:pt x="28" y="81"/>
                    </a:moveTo>
                    <a:cubicBezTo>
                      <a:pt x="41" y="81"/>
                      <a:pt x="43" y="67"/>
                      <a:pt x="41" y="53"/>
                    </a:cubicBezTo>
                    <a:cubicBezTo>
                      <a:pt x="37" y="54"/>
                      <a:pt x="37" y="51"/>
                      <a:pt x="33" y="51"/>
                    </a:cubicBezTo>
                    <a:cubicBezTo>
                      <a:pt x="30" y="61"/>
                      <a:pt x="32" y="75"/>
                      <a:pt x="28" y="8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22" name="Freeform 159">
                <a:extLst>
                  <a:ext uri="{FF2B5EF4-FFF2-40B4-BE49-F238E27FC236}">
                    <a16:creationId xmlns:a16="http://schemas.microsoft.com/office/drawing/2014/main" id="{3B5480D3-3284-4018-A7F2-A7010B0A93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9775" y="5519755"/>
                <a:ext cx="539752" cy="404813"/>
              </a:xfrm>
              <a:custGeom>
                <a:avLst/>
                <a:gdLst>
                  <a:gd name="T0" fmla="*/ 19 w 144"/>
                  <a:gd name="T1" fmla="*/ 0 h 108"/>
                  <a:gd name="T2" fmla="*/ 21 w 144"/>
                  <a:gd name="T3" fmla="*/ 0 h 108"/>
                  <a:gd name="T4" fmla="*/ 55 w 144"/>
                  <a:gd name="T5" fmla="*/ 19 h 108"/>
                  <a:gd name="T6" fmla="*/ 139 w 144"/>
                  <a:gd name="T7" fmla="*/ 47 h 108"/>
                  <a:gd name="T8" fmla="*/ 144 w 144"/>
                  <a:gd name="T9" fmla="*/ 62 h 108"/>
                  <a:gd name="T10" fmla="*/ 144 w 144"/>
                  <a:gd name="T11" fmla="*/ 66 h 108"/>
                  <a:gd name="T12" fmla="*/ 137 w 144"/>
                  <a:gd name="T13" fmla="*/ 88 h 108"/>
                  <a:gd name="T14" fmla="*/ 105 w 144"/>
                  <a:gd name="T15" fmla="*/ 91 h 108"/>
                  <a:gd name="T16" fmla="*/ 100 w 144"/>
                  <a:gd name="T17" fmla="*/ 103 h 108"/>
                  <a:gd name="T18" fmla="*/ 90 w 144"/>
                  <a:gd name="T19" fmla="*/ 108 h 108"/>
                  <a:gd name="T20" fmla="*/ 82 w 144"/>
                  <a:gd name="T21" fmla="*/ 108 h 108"/>
                  <a:gd name="T22" fmla="*/ 31 w 144"/>
                  <a:gd name="T23" fmla="*/ 100 h 108"/>
                  <a:gd name="T24" fmla="*/ 32 w 144"/>
                  <a:gd name="T25" fmla="*/ 73 h 108"/>
                  <a:gd name="T26" fmla="*/ 0 w 144"/>
                  <a:gd name="T27" fmla="*/ 65 h 108"/>
                  <a:gd name="T28" fmla="*/ 0 w 144"/>
                  <a:gd name="T29" fmla="*/ 51 h 108"/>
                  <a:gd name="T30" fmla="*/ 11 w 144"/>
                  <a:gd name="T31" fmla="*/ 12 h 108"/>
                  <a:gd name="T32" fmla="*/ 19 w 144"/>
                  <a:gd name="T33" fmla="*/ 0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4" h="108">
                    <a:moveTo>
                      <a:pt x="19" y="0"/>
                    </a:moveTo>
                    <a:cubicBezTo>
                      <a:pt x="19" y="0"/>
                      <a:pt x="20" y="0"/>
                      <a:pt x="21" y="0"/>
                    </a:cubicBezTo>
                    <a:cubicBezTo>
                      <a:pt x="33" y="7"/>
                      <a:pt x="45" y="13"/>
                      <a:pt x="55" y="19"/>
                    </a:cubicBezTo>
                    <a:cubicBezTo>
                      <a:pt x="92" y="2"/>
                      <a:pt x="120" y="31"/>
                      <a:pt x="139" y="47"/>
                    </a:cubicBezTo>
                    <a:cubicBezTo>
                      <a:pt x="141" y="52"/>
                      <a:pt x="141" y="58"/>
                      <a:pt x="144" y="62"/>
                    </a:cubicBezTo>
                    <a:cubicBezTo>
                      <a:pt x="144" y="63"/>
                      <a:pt x="144" y="65"/>
                      <a:pt x="144" y="66"/>
                    </a:cubicBezTo>
                    <a:cubicBezTo>
                      <a:pt x="142" y="75"/>
                      <a:pt x="141" y="83"/>
                      <a:pt x="137" y="88"/>
                    </a:cubicBezTo>
                    <a:cubicBezTo>
                      <a:pt x="124" y="87"/>
                      <a:pt x="117" y="91"/>
                      <a:pt x="105" y="91"/>
                    </a:cubicBezTo>
                    <a:cubicBezTo>
                      <a:pt x="99" y="91"/>
                      <a:pt x="104" y="101"/>
                      <a:pt x="100" y="103"/>
                    </a:cubicBezTo>
                    <a:cubicBezTo>
                      <a:pt x="96" y="105"/>
                      <a:pt x="91" y="106"/>
                      <a:pt x="90" y="108"/>
                    </a:cubicBezTo>
                    <a:cubicBezTo>
                      <a:pt x="87" y="108"/>
                      <a:pt x="84" y="108"/>
                      <a:pt x="82" y="108"/>
                    </a:cubicBezTo>
                    <a:cubicBezTo>
                      <a:pt x="66" y="105"/>
                      <a:pt x="41" y="108"/>
                      <a:pt x="31" y="100"/>
                    </a:cubicBezTo>
                    <a:cubicBezTo>
                      <a:pt x="27" y="90"/>
                      <a:pt x="33" y="85"/>
                      <a:pt x="32" y="73"/>
                    </a:cubicBezTo>
                    <a:cubicBezTo>
                      <a:pt x="23" y="75"/>
                      <a:pt x="8" y="71"/>
                      <a:pt x="0" y="65"/>
                    </a:cubicBezTo>
                    <a:cubicBezTo>
                      <a:pt x="0" y="61"/>
                      <a:pt x="0" y="56"/>
                      <a:pt x="0" y="51"/>
                    </a:cubicBezTo>
                    <a:cubicBezTo>
                      <a:pt x="6" y="39"/>
                      <a:pt x="14" y="27"/>
                      <a:pt x="11" y="12"/>
                    </a:cubicBezTo>
                    <a:cubicBezTo>
                      <a:pt x="11" y="7"/>
                      <a:pt x="18" y="6"/>
                      <a:pt x="19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23" name="Freeform 160">
                <a:extLst>
                  <a:ext uri="{FF2B5EF4-FFF2-40B4-BE49-F238E27FC236}">
                    <a16:creationId xmlns:a16="http://schemas.microsoft.com/office/drawing/2014/main" id="{93441820-75FD-46E6-8AC0-854C5BF4D9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014673"/>
                <a:ext cx="1109668" cy="2805120"/>
              </a:xfrm>
              <a:custGeom>
                <a:avLst/>
                <a:gdLst>
                  <a:gd name="T0" fmla="*/ 0 w 296"/>
                  <a:gd name="T1" fmla="*/ 188 h 748"/>
                  <a:gd name="T2" fmla="*/ 0 w 296"/>
                  <a:gd name="T3" fmla="*/ 183 h 748"/>
                  <a:gd name="T4" fmla="*/ 12 w 296"/>
                  <a:gd name="T5" fmla="*/ 166 h 748"/>
                  <a:gd name="T6" fmla="*/ 103 w 296"/>
                  <a:gd name="T7" fmla="*/ 169 h 748"/>
                  <a:gd name="T8" fmla="*/ 143 w 296"/>
                  <a:gd name="T9" fmla="*/ 9 h 748"/>
                  <a:gd name="T10" fmla="*/ 191 w 296"/>
                  <a:gd name="T11" fmla="*/ 11 h 748"/>
                  <a:gd name="T12" fmla="*/ 225 w 296"/>
                  <a:gd name="T13" fmla="*/ 112 h 748"/>
                  <a:gd name="T14" fmla="*/ 245 w 296"/>
                  <a:gd name="T15" fmla="*/ 133 h 748"/>
                  <a:gd name="T16" fmla="*/ 268 w 296"/>
                  <a:gd name="T17" fmla="*/ 153 h 748"/>
                  <a:gd name="T18" fmla="*/ 296 w 296"/>
                  <a:gd name="T19" fmla="*/ 153 h 748"/>
                  <a:gd name="T20" fmla="*/ 275 w 296"/>
                  <a:gd name="T21" fmla="*/ 276 h 748"/>
                  <a:gd name="T22" fmla="*/ 268 w 296"/>
                  <a:gd name="T23" fmla="*/ 288 h 748"/>
                  <a:gd name="T24" fmla="*/ 264 w 296"/>
                  <a:gd name="T25" fmla="*/ 303 h 748"/>
                  <a:gd name="T26" fmla="*/ 253 w 296"/>
                  <a:gd name="T27" fmla="*/ 328 h 748"/>
                  <a:gd name="T28" fmla="*/ 256 w 296"/>
                  <a:gd name="T29" fmla="*/ 354 h 748"/>
                  <a:gd name="T30" fmla="*/ 252 w 296"/>
                  <a:gd name="T31" fmla="*/ 418 h 748"/>
                  <a:gd name="T32" fmla="*/ 249 w 296"/>
                  <a:gd name="T33" fmla="*/ 514 h 748"/>
                  <a:gd name="T34" fmla="*/ 237 w 296"/>
                  <a:gd name="T35" fmla="*/ 577 h 748"/>
                  <a:gd name="T36" fmla="*/ 223 w 296"/>
                  <a:gd name="T37" fmla="*/ 604 h 748"/>
                  <a:gd name="T38" fmla="*/ 215 w 296"/>
                  <a:gd name="T39" fmla="*/ 633 h 748"/>
                  <a:gd name="T40" fmla="*/ 207 w 296"/>
                  <a:gd name="T41" fmla="*/ 662 h 748"/>
                  <a:gd name="T42" fmla="*/ 222 w 296"/>
                  <a:gd name="T43" fmla="*/ 707 h 748"/>
                  <a:gd name="T44" fmla="*/ 182 w 296"/>
                  <a:gd name="T45" fmla="*/ 689 h 748"/>
                  <a:gd name="T46" fmla="*/ 122 w 296"/>
                  <a:gd name="T47" fmla="*/ 748 h 748"/>
                  <a:gd name="T48" fmla="*/ 114 w 296"/>
                  <a:gd name="T49" fmla="*/ 677 h 748"/>
                  <a:gd name="T50" fmla="*/ 97 w 296"/>
                  <a:gd name="T51" fmla="*/ 672 h 748"/>
                  <a:gd name="T52" fmla="*/ 97 w 296"/>
                  <a:gd name="T53" fmla="*/ 609 h 748"/>
                  <a:gd name="T54" fmla="*/ 86 w 296"/>
                  <a:gd name="T55" fmla="*/ 588 h 748"/>
                  <a:gd name="T56" fmla="*/ 64 w 296"/>
                  <a:gd name="T57" fmla="*/ 525 h 748"/>
                  <a:gd name="T58" fmla="*/ 35 w 296"/>
                  <a:gd name="T59" fmla="*/ 383 h 748"/>
                  <a:gd name="T60" fmla="*/ 19 w 296"/>
                  <a:gd name="T61" fmla="*/ 285 h 748"/>
                  <a:gd name="T62" fmla="*/ 0 w 296"/>
                  <a:gd name="T63" fmla="*/ 188 h 7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96" h="748">
                    <a:moveTo>
                      <a:pt x="0" y="188"/>
                    </a:moveTo>
                    <a:cubicBezTo>
                      <a:pt x="0" y="186"/>
                      <a:pt x="0" y="185"/>
                      <a:pt x="0" y="183"/>
                    </a:cubicBezTo>
                    <a:cubicBezTo>
                      <a:pt x="6" y="178"/>
                      <a:pt x="6" y="168"/>
                      <a:pt x="12" y="166"/>
                    </a:cubicBezTo>
                    <a:cubicBezTo>
                      <a:pt x="37" y="176"/>
                      <a:pt x="73" y="176"/>
                      <a:pt x="103" y="169"/>
                    </a:cubicBezTo>
                    <a:cubicBezTo>
                      <a:pt x="116" y="117"/>
                      <a:pt x="127" y="60"/>
                      <a:pt x="143" y="9"/>
                    </a:cubicBezTo>
                    <a:cubicBezTo>
                      <a:pt x="158" y="0"/>
                      <a:pt x="177" y="2"/>
                      <a:pt x="191" y="11"/>
                    </a:cubicBezTo>
                    <a:cubicBezTo>
                      <a:pt x="204" y="36"/>
                      <a:pt x="210" y="83"/>
                      <a:pt x="225" y="112"/>
                    </a:cubicBezTo>
                    <a:cubicBezTo>
                      <a:pt x="229" y="119"/>
                      <a:pt x="237" y="125"/>
                      <a:pt x="245" y="133"/>
                    </a:cubicBezTo>
                    <a:cubicBezTo>
                      <a:pt x="252" y="140"/>
                      <a:pt x="260" y="152"/>
                      <a:pt x="268" y="153"/>
                    </a:cubicBezTo>
                    <a:cubicBezTo>
                      <a:pt x="277" y="155"/>
                      <a:pt x="286" y="149"/>
                      <a:pt x="296" y="153"/>
                    </a:cubicBezTo>
                    <a:cubicBezTo>
                      <a:pt x="291" y="195"/>
                      <a:pt x="275" y="228"/>
                      <a:pt x="275" y="276"/>
                    </a:cubicBezTo>
                    <a:cubicBezTo>
                      <a:pt x="273" y="281"/>
                      <a:pt x="269" y="281"/>
                      <a:pt x="268" y="288"/>
                    </a:cubicBezTo>
                    <a:cubicBezTo>
                      <a:pt x="265" y="291"/>
                      <a:pt x="265" y="298"/>
                      <a:pt x="264" y="303"/>
                    </a:cubicBezTo>
                    <a:cubicBezTo>
                      <a:pt x="261" y="312"/>
                      <a:pt x="253" y="318"/>
                      <a:pt x="253" y="328"/>
                    </a:cubicBezTo>
                    <a:cubicBezTo>
                      <a:pt x="252" y="336"/>
                      <a:pt x="256" y="345"/>
                      <a:pt x="256" y="354"/>
                    </a:cubicBezTo>
                    <a:cubicBezTo>
                      <a:pt x="258" y="380"/>
                      <a:pt x="258" y="399"/>
                      <a:pt x="252" y="418"/>
                    </a:cubicBezTo>
                    <a:cubicBezTo>
                      <a:pt x="266" y="448"/>
                      <a:pt x="257" y="479"/>
                      <a:pt x="249" y="514"/>
                    </a:cubicBezTo>
                    <a:cubicBezTo>
                      <a:pt x="245" y="536"/>
                      <a:pt x="243" y="559"/>
                      <a:pt x="237" y="577"/>
                    </a:cubicBezTo>
                    <a:cubicBezTo>
                      <a:pt x="233" y="586"/>
                      <a:pt x="227" y="595"/>
                      <a:pt x="223" y="604"/>
                    </a:cubicBezTo>
                    <a:cubicBezTo>
                      <a:pt x="220" y="611"/>
                      <a:pt x="218" y="623"/>
                      <a:pt x="215" y="633"/>
                    </a:cubicBezTo>
                    <a:cubicBezTo>
                      <a:pt x="212" y="644"/>
                      <a:pt x="207" y="656"/>
                      <a:pt x="207" y="662"/>
                    </a:cubicBezTo>
                    <a:cubicBezTo>
                      <a:pt x="208" y="675"/>
                      <a:pt x="224" y="690"/>
                      <a:pt x="222" y="707"/>
                    </a:cubicBezTo>
                    <a:cubicBezTo>
                      <a:pt x="203" y="705"/>
                      <a:pt x="197" y="690"/>
                      <a:pt x="182" y="689"/>
                    </a:cubicBezTo>
                    <a:cubicBezTo>
                      <a:pt x="141" y="688"/>
                      <a:pt x="137" y="726"/>
                      <a:pt x="122" y="748"/>
                    </a:cubicBezTo>
                    <a:cubicBezTo>
                      <a:pt x="120" y="724"/>
                      <a:pt x="115" y="702"/>
                      <a:pt x="114" y="677"/>
                    </a:cubicBezTo>
                    <a:cubicBezTo>
                      <a:pt x="108" y="676"/>
                      <a:pt x="99" y="684"/>
                      <a:pt x="97" y="672"/>
                    </a:cubicBezTo>
                    <a:cubicBezTo>
                      <a:pt x="64" y="661"/>
                      <a:pt x="98" y="627"/>
                      <a:pt x="97" y="609"/>
                    </a:cubicBezTo>
                    <a:cubicBezTo>
                      <a:pt x="97" y="602"/>
                      <a:pt x="90" y="595"/>
                      <a:pt x="86" y="588"/>
                    </a:cubicBezTo>
                    <a:cubicBezTo>
                      <a:pt x="74" y="569"/>
                      <a:pt x="70" y="549"/>
                      <a:pt x="64" y="525"/>
                    </a:cubicBezTo>
                    <a:cubicBezTo>
                      <a:pt x="52" y="479"/>
                      <a:pt x="45" y="432"/>
                      <a:pt x="35" y="383"/>
                    </a:cubicBezTo>
                    <a:cubicBezTo>
                      <a:pt x="28" y="351"/>
                      <a:pt x="22" y="318"/>
                      <a:pt x="19" y="285"/>
                    </a:cubicBezTo>
                    <a:cubicBezTo>
                      <a:pt x="18" y="251"/>
                      <a:pt x="7" y="214"/>
                      <a:pt x="0" y="188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24" name="Freeform 179">
                <a:extLst>
                  <a:ext uri="{FF2B5EF4-FFF2-40B4-BE49-F238E27FC236}">
                    <a16:creationId xmlns:a16="http://schemas.microsoft.com/office/drawing/2014/main" id="{D0DE4A91-AAFA-4C8E-8D15-A44DA41574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4413" y="3113098"/>
                <a:ext cx="452441" cy="569916"/>
              </a:xfrm>
              <a:custGeom>
                <a:avLst/>
                <a:gdLst>
                  <a:gd name="T0" fmla="*/ 0 w 285"/>
                  <a:gd name="T1" fmla="*/ 0 h 359"/>
                  <a:gd name="T2" fmla="*/ 14 w 285"/>
                  <a:gd name="T3" fmla="*/ 96 h 359"/>
                  <a:gd name="T4" fmla="*/ 108 w 285"/>
                  <a:gd name="T5" fmla="*/ 330 h 359"/>
                  <a:gd name="T6" fmla="*/ 285 w 285"/>
                  <a:gd name="T7" fmla="*/ 359 h 359"/>
                  <a:gd name="T8" fmla="*/ 285 w 285"/>
                  <a:gd name="T9" fmla="*/ 311 h 359"/>
                  <a:gd name="T10" fmla="*/ 0 w 285"/>
                  <a:gd name="T11" fmla="*/ 0 h 3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5" h="359">
                    <a:moveTo>
                      <a:pt x="0" y="0"/>
                    </a:moveTo>
                    <a:lnTo>
                      <a:pt x="14" y="96"/>
                    </a:lnTo>
                    <a:lnTo>
                      <a:pt x="108" y="330"/>
                    </a:lnTo>
                    <a:lnTo>
                      <a:pt x="285" y="359"/>
                    </a:lnTo>
                    <a:lnTo>
                      <a:pt x="285" y="31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25" name="Freeform 180">
                <a:extLst>
                  <a:ext uri="{FF2B5EF4-FFF2-40B4-BE49-F238E27FC236}">
                    <a16:creationId xmlns:a16="http://schemas.microsoft.com/office/drawing/2014/main" id="{67F92CA3-33F8-42BA-97F2-14139485E0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146435"/>
                <a:ext cx="592139" cy="619126"/>
              </a:xfrm>
              <a:custGeom>
                <a:avLst/>
                <a:gdLst>
                  <a:gd name="T0" fmla="*/ 158 w 158"/>
                  <a:gd name="T1" fmla="*/ 0 h 165"/>
                  <a:gd name="T2" fmla="*/ 158 w 158"/>
                  <a:gd name="T3" fmla="*/ 80 h 165"/>
                  <a:gd name="T4" fmla="*/ 113 w 158"/>
                  <a:gd name="T5" fmla="*/ 158 h 165"/>
                  <a:gd name="T6" fmla="*/ 23 w 158"/>
                  <a:gd name="T7" fmla="*/ 156 h 165"/>
                  <a:gd name="T8" fmla="*/ 0 w 158"/>
                  <a:gd name="T9" fmla="*/ 148 h 165"/>
                  <a:gd name="T10" fmla="*/ 87 w 158"/>
                  <a:gd name="T11" fmla="*/ 137 h 165"/>
                  <a:gd name="T12" fmla="*/ 158 w 158"/>
                  <a:gd name="T13" fmla="*/ 0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8" h="165">
                    <a:moveTo>
                      <a:pt x="158" y="0"/>
                    </a:moveTo>
                    <a:cubicBezTo>
                      <a:pt x="158" y="80"/>
                      <a:pt x="158" y="80"/>
                      <a:pt x="158" y="80"/>
                    </a:cubicBezTo>
                    <a:cubicBezTo>
                      <a:pt x="158" y="80"/>
                      <a:pt x="139" y="165"/>
                      <a:pt x="113" y="158"/>
                    </a:cubicBezTo>
                    <a:cubicBezTo>
                      <a:pt x="87" y="152"/>
                      <a:pt x="26" y="157"/>
                      <a:pt x="23" y="156"/>
                    </a:cubicBezTo>
                    <a:cubicBezTo>
                      <a:pt x="20" y="156"/>
                      <a:pt x="0" y="148"/>
                      <a:pt x="0" y="148"/>
                    </a:cubicBezTo>
                    <a:cubicBezTo>
                      <a:pt x="0" y="148"/>
                      <a:pt x="82" y="138"/>
                      <a:pt x="87" y="137"/>
                    </a:cubicBezTo>
                    <a:cubicBezTo>
                      <a:pt x="92" y="136"/>
                      <a:pt x="158" y="0"/>
                      <a:pt x="1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26" name="Freeform 181">
                <a:extLst>
                  <a:ext uri="{FF2B5EF4-FFF2-40B4-BE49-F238E27FC236}">
                    <a16:creationId xmlns:a16="http://schemas.microsoft.com/office/drawing/2014/main" id="{32AB31A6-FF2C-408B-9C90-6872D1C820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9813" y="3446473"/>
                <a:ext cx="63501" cy="423863"/>
              </a:xfrm>
              <a:custGeom>
                <a:avLst/>
                <a:gdLst>
                  <a:gd name="T0" fmla="*/ 0 w 40"/>
                  <a:gd name="T1" fmla="*/ 0 h 267"/>
                  <a:gd name="T2" fmla="*/ 0 w 40"/>
                  <a:gd name="T3" fmla="*/ 267 h 267"/>
                  <a:gd name="T4" fmla="*/ 40 w 40"/>
                  <a:gd name="T5" fmla="*/ 260 h 267"/>
                  <a:gd name="T6" fmla="*/ 0 w 40"/>
                  <a:gd name="T7" fmla="*/ 0 h 2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0" h="267">
                    <a:moveTo>
                      <a:pt x="0" y="0"/>
                    </a:moveTo>
                    <a:lnTo>
                      <a:pt x="0" y="267"/>
                    </a:lnTo>
                    <a:lnTo>
                      <a:pt x="40" y="26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27" name="Freeform 182">
                <a:extLst>
                  <a:ext uri="{FF2B5EF4-FFF2-40B4-BE49-F238E27FC236}">
                    <a16:creationId xmlns:a16="http://schemas.microsoft.com/office/drawing/2014/main" id="{61CB4A7C-C1AA-4D7E-9B8F-7A1FC41C04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48036" y="3884623"/>
                <a:ext cx="217490" cy="1497016"/>
              </a:xfrm>
              <a:custGeom>
                <a:avLst/>
                <a:gdLst>
                  <a:gd name="T0" fmla="*/ 58 w 58"/>
                  <a:gd name="T1" fmla="*/ 0 h 399"/>
                  <a:gd name="T2" fmla="*/ 6 w 58"/>
                  <a:gd name="T3" fmla="*/ 369 h 399"/>
                  <a:gd name="T4" fmla="*/ 0 w 58"/>
                  <a:gd name="T5" fmla="*/ 399 h 399"/>
                  <a:gd name="T6" fmla="*/ 34 w 58"/>
                  <a:gd name="T7" fmla="*/ 312 h 399"/>
                  <a:gd name="T8" fmla="*/ 29 w 58"/>
                  <a:gd name="T9" fmla="*/ 255 h 399"/>
                  <a:gd name="T10" fmla="*/ 48 w 58"/>
                  <a:gd name="T11" fmla="*/ 139 h 399"/>
                  <a:gd name="T12" fmla="*/ 58 w 58"/>
                  <a:gd name="T13" fmla="*/ 0 h 3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8" h="399">
                    <a:moveTo>
                      <a:pt x="58" y="0"/>
                    </a:moveTo>
                    <a:cubicBezTo>
                      <a:pt x="6" y="369"/>
                      <a:pt x="6" y="369"/>
                      <a:pt x="6" y="369"/>
                    </a:cubicBezTo>
                    <a:cubicBezTo>
                      <a:pt x="0" y="399"/>
                      <a:pt x="0" y="399"/>
                      <a:pt x="0" y="399"/>
                    </a:cubicBezTo>
                    <a:cubicBezTo>
                      <a:pt x="0" y="399"/>
                      <a:pt x="36" y="342"/>
                      <a:pt x="34" y="312"/>
                    </a:cubicBezTo>
                    <a:cubicBezTo>
                      <a:pt x="32" y="282"/>
                      <a:pt x="28" y="282"/>
                      <a:pt x="29" y="255"/>
                    </a:cubicBezTo>
                    <a:cubicBezTo>
                      <a:pt x="31" y="227"/>
                      <a:pt x="46" y="145"/>
                      <a:pt x="48" y="139"/>
                    </a:cubicBezTo>
                    <a:cubicBezTo>
                      <a:pt x="50" y="132"/>
                      <a:pt x="58" y="0"/>
                      <a:pt x="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28" name="Freeform 183">
                <a:extLst>
                  <a:ext uri="{FF2B5EF4-FFF2-40B4-BE49-F238E27FC236}">
                    <a16:creationId xmlns:a16="http://schemas.microsoft.com/office/drawing/2014/main" id="{6E4026D0-BAF6-4D1E-8B24-3330A7F55B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3802" y="4038612"/>
                <a:ext cx="231777" cy="385763"/>
              </a:xfrm>
              <a:custGeom>
                <a:avLst/>
                <a:gdLst>
                  <a:gd name="T0" fmla="*/ 62 w 62"/>
                  <a:gd name="T1" fmla="*/ 0 h 103"/>
                  <a:gd name="T2" fmla="*/ 35 w 62"/>
                  <a:gd name="T3" fmla="*/ 31 h 103"/>
                  <a:gd name="T4" fmla="*/ 27 w 62"/>
                  <a:gd name="T5" fmla="*/ 66 h 103"/>
                  <a:gd name="T6" fmla="*/ 6 w 62"/>
                  <a:gd name="T7" fmla="*/ 79 h 103"/>
                  <a:gd name="T8" fmla="*/ 23 w 62"/>
                  <a:gd name="T9" fmla="*/ 30 h 103"/>
                  <a:gd name="T10" fmla="*/ 62 w 62"/>
                  <a:gd name="T11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2" h="103">
                    <a:moveTo>
                      <a:pt x="62" y="0"/>
                    </a:moveTo>
                    <a:cubicBezTo>
                      <a:pt x="62" y="0"/>
                      <a:pt x="37" y="20"/>
                      <a:pt x="35" y="31"/>
                    </a:cubicBezTo>
                    <a:cubicBezTo>
                      <a:pt x="33" y="42"/>
                      <a:pt x="25" y="75"/>
                      <a:pt x="27" y="66"/>
                    </a:cubicBezTo>
                    <a:cubicBezTo>
                      <a:pt x="28" y="58"/>
                      <a:pt x="0" y="103"/>
                      <a:pt x="6" y="79"/>
                    </a:cubicBezTo>
                    <a:cubicBezTo>
                      <a:pt x="12" y="55"/>
                      <a:pt x="14" y="48"/>
                      <a:pt x="23" y="30"/>
                    </a:cubicBezTo>
                    <a:cubicBezTo>
                      <a:pt x="33" y="12"/>
                      <a:pt x="62" y="0"/>
                      <a:pt x="62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29" name="Freeform 184">
                <a:extLst>
                  <a:ext uri="{FF2B5EF4-FFF2-40B4-BE49-F238E27FC236}">
                    <a16:creationId xmlns:a16="http://schemas.microsoft.com/office/drawing/2014/main" id="{7394785A-5605-4453-84A0-029B3F19B1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5862" y="4581537"/>
                <a:ext cx="153989" cy="434977"/>
              </a:xfrm>
              <a:custGeom>
                <a:avLst/>
                <a:gdLst>
                  <a:gd name="T0" fmla="*/ 41 w 41"/>
                  <a:gd name="T1" fmla="*/ 0 h 116"/>
                  <a:gd name="T2" fmla="*/ 25 w 41"/>
                  <a:gd name="T3" fmla="*/ 47 h 116"/>
                  <a:gd name="T4" fmla="*/ 7 w 41"/>
                  <a:gd name="T5" fmla="*/ 85 h 116"/>
                  <a:gd name="T6" fmla="*/ 36 w 41"/>
                  <a:gd name="T7" fmla="*/ 0 h 116"/>
                  <a:gd name="T8" fmla="*/ 41 w 41"/>
                  <a:gd name="T9" fmla="*/ 0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116">
                    <a:moveTo>
                      <a:pt x="41" y="0"/>
                    </a:moveTo>
                    <a:cubicBezTo>
                      <a:pt x="38" y="8"/>
                      <a:pt x="33" y="18"/>
                      <a:pt x="25" y="47"/>
                    </a:cubicBezTo>
                    <a:cubicBezTo>
                      <a:pt x="17" y="75"/>
                      <a:pt x="0" y="116"/>
                      <a:pt x="7" y="85"/>
                    </a:cubicBezTo>
                    <a:cubicBezTo>
                      <a:pt x="15" y="53"/>
                      <a:pt x="31" y="0"/>
                      <a:pt x="36" y="0"/>
                    </a:cubicBezTo>
                    <a:cubicBezTo>
                      <a:pt x="41" y="0"/>
                      <a:pt x="41" y="0"/>
                      <a:pt x="41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30" name="Freeform 185">
                <a:extLst>
                  <a:ext uri="{FF2B5EF4-FFF2-40B4-BE49-F238E27FC236}">
                    <a16:creationId xmlns:a16="http://schemas.microsoft.com/office/drawing/2014/main" id="{55C50485-E803-4C55-90CF-0561F6E164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5988" y="5470541"/>
                <a:ext cx="274638" cy="165099"/>
              </a:xfrm>
              <a:custGeom>
                <a:avLst/>
                <a:gdLst>
                  <a:gd name="T0" fmla="*/ 0 w 73"/>
                  <a:gd name="T1" fmla="*/ 41 h 44"/>
                  <a:gd name="T2" fmla="*/ 37 w 73"/>
                  <a:gd name="T3" fmla="*/ 29 h 44"/>
                  <a:gd name="T4" fmla="*/ 68 w 73"/>
                  <a:gd name="T5" fmla="*/ 29 h 44"/>
                  <a:gd name="T6" fmla="*/ 50 w 73"/>
                  <a:gd name="T7" fmla="*/ 0 h 44"/>
                  <a:gd name="T8" fmla="*/ 0 w 73"/>
                  <a:gd name="T9" fmla="*/ 41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3" h="44">
                    <a:moveTo>
                      <a:pt x="0" y="41"/>
                    </a:moveTo>
                    <a:cubicBezTo>
                      <a:pt x="0" y="41"/>
                      <a:pt x="8" y="27"/>
                      <a:pt x="37" y="29"/>
                    </a:cubicBezTo>
                    <a:cubicBezTo>
                      <a:pt x="65" y="31"/>
                      <a:pt x="66" y="44"/>
                      <a:pt x="68" y="29"/>
                    </a:cubicBezTo>
                    <a:cubicBezTo>
                      <a:pt x="70" y="14"/>
                      <a:pt x="73" y="0"/>
                      <a:pt x="50" y="0"/>
                    </a:cubicBezTo>
                    <a:cubicBezTo>
                      <a:pt x="27" y="0"/>
                      <a:pt x="0" y="41"/>
                      <a:pt x="0" y="4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31" name="Freeform 186">
                <a:extLst>
                  <a:ext uri="{FF2B5EF4-FFF2-40B4-BE49-F238E27FC236}">
                    <a16:creationId xmlns:a16="http://schemas.microsoft.com/office/drawing/2014/main" id="{7AABF5C6-F410-4A60-8BCD-A3DCDBFA4F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5111766"/>
                <a:ext cx="139699" cy="265114"/>
              </a:xfrm>
              <a:custGeom>
                <a:avLst/>
                <a:gdLst>
                  <a:gd name="T0" fmla="*/ 16 w 37"/>
                  <a:gd name="T1" fmla="*/ 2 h 71"/>
                  <a:gd name="T2" fmla="*/ 31 w 37"/>
                  <a:gd name="T3" fmla="*/ 31 h 71"/>
                  <a:gd name="T4" fmla="*/ 24 w 37"/>
                  <a:gd name="T5" fmla="*/ 42 h 71"/>
                  <a:gd name="T6" fmla="*/ 3 w 37"/>
                  <a:gd name="T7" fmla="*/ 7 h 71"/>
                  <a:gd name="T8" fmla="*/ 16 w 37"/>
                  <a:gd name="T9" fmla="*/ 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71">
                    <a:moveTo>
                      <a:pt x="16" y="2"/>
                    </a:moveTo>
                    <a:cubicBezTo>
                      <a:pt x="24" y="6"/>
                      <a:pt x="32" y="19"/>
                      <a:pt x="31" y="31"/>
                    </a:cubicBezTo>
                    <a:cubicBezTo>
                      <a:pt x="30" y="43"/>
                      <a:pt x="37" y="71"/>
                      <a:pt x="24" y="42"/>
                    </a:cubicBezTo>
                    <a:cubicBezTo>
                      <a:pt x="11" y="14"/>
                      <a:pt x="0" y="14"/>
                      <a:pt x="3" y="7"/>
                    </a:cubicBezTo>
                    <a:cubicBezTo>
                      <a:pt x="6" y="0"/>
                      <a:pt x="16" y="2"/>
                      <a:pt x="16" y="2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32" name="Freeform 187">
                <a:extLst>
                  <a:ext uri="{FF2B5EF4-FFF2-40B4-BE49-F238E27FC236}">
                    <a16:creationId xmlns:a16="http://schemas.microsoft.com/office/drawing/2014/main" id="{9CA214DE-3CE3-4793-9B2A-C037698338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4" y="4159261"/>
                <a:ext cx="322265" cy="741365"/>
              </a:xfrm>
              <a:custGeom>
                <a:avLst/>
                <a:gdLst>
                  <a:gd name="T0" fmla="*/ 0 w 86"/>
                  <a:gd name="T1" fmla="*/ 0 h 198"/>
                  <a:gd name="T2" fmla="*/ 38 w 86"/>
                  <a:gd name="T3" fmla="*/ 16 h 198"/>
                  <a:gd name="T4" fmla="*/ 51 w 86"/>
                  <a:gd name="T5" fmla="*/ 54 h 198"/>
                  <a:gd name="T6" fmla="*/ 36 w 86"/>
                  <a:gd name="T7" fmla="*/ 54 h 198"/>
                  <a:gd name="T8" fmla="*/ 70 w 86"/>
                  <a:gd name="T9" fmla="*/ 161 h 198"/>
                  <a:gd name="T10" fmla="*/ 37 w 86"/>
                  <a:gd name="T11" fmla="*/ 132 h 198"/>
                  <a:gd name="T12" fmla="*/ 36 w 86"/>
                  <a:gd name="T13" fmla="*/ 198 h 198"/>
                  <a:gd name="T14" fmla="*/ 16 w 86"/>
                  <a:gd name="T15" fmla="*/ 96 h 198"/>
                  <a:gd name="T16" fmla="*/ 0 w 86"/>
                  <a:gd name="T17" fmla="*/ 28 h 198"/>
                  <a:gd name="T18" fmla="*/ 0 w 86"/>
                  <a:gd name="T19" fmla="*/ 0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6" h="198">
                    <a:moveTo>
                      <a:pt x="0" y="0"/>
                    </a:moveTo>
                    <a:cubicBezTo>
                      <a:pt x="0" y="0"/>
                      <a:pt x="32" y="2"/>
                      <a:pt x="38" y="16"/>
                    </a:cubicBezTo>
                    <a:cubicBezTo>
                      <a:pt x="44" y="31"/>
                      <a:pt x="66" y="67"/>
                      <a:pt x="51" y="54"/>
                    </a:cubicBezTo>
                    <a:cubicBezTo>
                      <a:pt x="36" y="41"/>
                      <a:pt x="17" y="24"/>
                      <a:pt x="36" y="54"/>
                    </a:cubicBezTo>
                    <a:cubicBezTo>
                      <a:pt x="54" y="84"/>
                      <a:pt x="86" y="181"/>
                      <a:pt x="70" y="161"/>
                    </a:cubicBezTo>
                    <a:cubicBezTo>
                      <a:pt x="55" y="141"/>
                      <a:pt x="39" y="108"/>
                      <a:pt x="37" y="132"/>
                    </a:cubicBezTo>
                    <a:cubicBezTo>
                      <a:pt x="36" y="156"/>
                      <a:pt x="36" y="198"/>
                      <a:pt x="36" y="198"/>
                    </a:cubicBezTo>
                    <a:cubicBezTo>
                      <a:pt x="16" y="96"/>
                      <a:pt x="16" y="96"/>
                      <a:pt x="16" y="96"/>
                    </a:cubicBezTo>
                    <a:cubicBezTo>
                      <a:pt x="0" y="28"/>
                      <a:pt x="0" y="28"/>
                      <a:pt x="0" y="28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33" name="Freeform 157">
                <a:extLst>
                  <a:ext uri="{FF2B5EF4-FFF2-40B4-BE49-F238E27FC236}">
                    <a16:creationId xmlns:a16="http://schemas.microsoft.com/office/drawing/2014/main" id="{A055169D-2DCB-4277-95FF-FACFCA427C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5160" y="960441"/>
                <a:ext cx="584203" cy="1049339"/>
              </a:xfrm>
              <a:custGeom>
                <a:avLst/>
                <a:gdLst>
                  <a:gd name="T0" fmla="*/ 0 w 156"/>
                  <a:gd name="T1" fmla="*/ 112 h 280"/>
                  <a:gd name="T2" fmla="*/ 0 w 156"/>
                  <a:gd name="T3" fmla="*/ 104 h 280"/>
                  <a:gd name="T4" fmla="*/ 11 w 156"/>
                  <a:gd name="T5" fmla="*/ 96 h 280"/>
                  <a:gd name="T6" fmla="*/ 4 w 156"/>
                  <a:gd name="T7" fmla="*/ 46 h 280"/>
                  <a:gd name="T8" fmla="*/ 28 w 156"/>
                  <a:gd name="T9" fmla="*/ 22 h 280"/>
                  <a:gd name="T10" fmla="*/ 59 w 156"/>
                  <a:gd name="T11" fmla="*/ 4 h 280"/>
                  <a:gd name="T12" fmla="*/ 108 w 156"/>
                  <a:gd name="T13" fmla="*/ 6 h 280"/>
                  <a:gd name="T14" fmla="*/ 138 w 156"/>
                  <a:gd name="T15" fmla="*/ 93 h 280"/>
                  <a:gd name="T16" fmla="*/ 143 w 156"/>
                  <a:gd name="T17" fmla="*/ 99 h 280"/>
                  <a:gd name="T18" fmla="*/ 131 w 156"/>
                  <a:gd name="T19" fmla="*/ 140 h 280"/>
                  <a:gd name="T20" fmla="*/ 122 w 156"/>
                  <a:gd name="T21" fmla="*/ 147 h 280"/>
                  <a:gd name="T22" fmla="*/ 114 w 156"/>
                  <a:gd name="T23" fmla="*/ 215 h 280"/>
                  <a:gd name="T24" fmla="*/ 80 w 156"/>
                  <a:gd name="T25" fmla="*/ 280 h 280"/>
                  <a:gd name="T26" fmla="*/ 56 w 156"/>
                  <a:gd name="T27" fmla="*/ 267 h 280"/>
                  <a:gd name="T28" fmla="*/ 44 w 156"/>
                  <a:gd name="T29" fmla="*/ 241 h 280"/>
                  <a:gd name="T30" fmla="*/ 24 w 156"/>
                  <a:gd name="T31" fmla="*/ 188 h 280"/>
                  <a:gd name="T32" fmla="*/ 24 w 156"/>
                  <a:gd name="T33" fmla="*/ 150 h 280"/>
                  <a:gd name="T34" fmla="*/ 12 w 156"/>
                  <a:gd name="T35" fmla="*/ 137 h 280"/>
                  <a:gd name="T36" fmla="*/ 0 w 156"/>
                  <a:gd name="T37" fmla="*/ 112 h 2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56" h="280">
                    <a:moveTo>
                      <a:pt x="0" y="112"/>
                    </a:moveTo>
                    <a:cubicBezTo>
                      <a:pt x="0" y="109"/>
                      <a:pt x="0" y="107"/>
                      <a:pt x="0" y="104"/>
                    </a:cubicBezTo>
                    <a:cubicBezTo>
                      <a:pt x="3" y="101"/>
                      <a:pt x="3" y="94"/>
                      <a:pt x="11" y="96"/>
                    </a:cubicBezTo>
                    <a:cubicBezTo>
                      <a:pt x="6" y="80"/>
                      <a:pt x="6" y="64"/>
                      <a:pt x="4" y="46"/>
                    </a:cubicBezTo>
                    <a:cubicBezTo>
                      <a:pt x="8" y="36"/>
                      <a:pt x="19" y="30"/>
                      <a:pt x="28" y="22"/>
                    </a:cubicBezTo>
                    <a:cubicBezTo>
                      <a:pt x="38" y="16"/>
                      <a:pt x="47" y="7"/>
                      <a:pt x="59" y="4"/>
                    </a:cubicBezTo>
                    <a:cubicBezTo>
                      <a:pt x="72" y="0"/>
                      <a:pt x="89" y="6"/>
                      <a:pt x="108" y="6"/>
                    </a:cubicBezTo>
                    <a:cubicBezTo>
                      <a:pt x="134" y="19"/>
                      <a:pt x="156" y="55"/>
                      <a:pt x="138" y="93"/>
                    </a:cubicBezTo>
                    <a:cubicBezTo>
                      <a:pt x="137" y="97"/>
                      <a:pt x="145" y="96"/>
                      <a:pt x="143" y="99"/>
                    </a:cubicBezTo>
                    <a:cubicBezTo>
                      <a:pt x="149" y="115"/>
                      <a:pt x="135" y="128"/>
                      <a:pt x="131" y="140"/>
                    </a:cubicBezTo>
                    <a:cubicBezTo>
                      <a:pt x="130" y="142"/>
                      <a:pt x="126" y="146"/>
                      <a:pt x="122" y="147"/>
                    </a:cubicBezTo>
                    <a:cubicBezTo>
                      <a:pt x="122" y="170"/>
                      <a:pt x="121" y="196"/>
                      <a:pt x="114" y="215"/>
                    </a:cubicBezTo>
                    <a:cubicBezTo>
                      <a:pt x="108" y="240"/>
                      <a:pt x="102" y="273"/>
                      <a:pt x="80" y="280"/>
                    </a:cubicBezTo>
                    <a:cubicBezTo>
                      <a:pt x="72" y="274"/>
                      <a:pt x="61" y="274"/>
                      <a:pt x="56" y="267"/>
                    </a:cubicBezTo>
                    <a:cubicBezTo>
                      <a:pt x="51" y="260"/>
                      <a:pt x="48" y="249"/>
                      <a:pt x="44" y="241"/>
                    </a:cubicBezTo>
                    <a:cubicBezTo>
                      <a:pt x="38" y="226"/>
                      <a:pt x="27" y="204"/>
                      <a:pt x="24" y="188"/>
                    </a:cubicBezTo>
                    <a:cubicBezTo>
                      <a:pt x="22" y="175"/>
                      <a:pt x="27" y="161"/>
                      <a:pt x="24" y="150"/>
                    </a:cubicBezTo>
                    <a:cubicBezTo>
                      <a:pt x="22" y="140"/>
                      <a:pt x="18" y="144"/>
                      <a:pt x="12" y="137"/>
                    </a:cubicBezTo>
                    <a:cubicBezTo>
                      <a:pt x="7" y="130"/>
                      <a:pt x="4" y="118"/>
                      <a:pt x="0" y="112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34" name="Freeform 158">
                <a:extLst>
                  <a:ext uri="{FF2B5EF4-FFF2-40B4-BE49-F238E27FC236}">
                    <a16:creationId xmlns:a16="http://schemas.microsoft.com/office/drawing/2014/main" id="{F18BAA42-1BF0-42B2-9989-DB1FEEB37C1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49535" y="3479810"/>
                <a:ext cx="255587" cy="434977"/>
              </a:xfrm>
              <a:custGeom>
                <a:avLst/>
                <a:gdLst>
                  <a:gd name="T0" fmla="*/ 63 w 68"/>
                  <a:gd name="T1" fmla="*/ 116 h 116"/>
                  <a:gd name="T2" fmla="*/ 60 w 68"/>
                  <a:gd name="T3" fmla="*/ 116 h 116"/>
                  <a:gd name="T4" fmla="*/ 16 w 68"/>
                  <a:gd name="T5" fmla="*/ 98 h 116"/>
                  <a:gd name="T6" fmla="*/ 0 w 68"/>
                  <a:gd name="T7" fmla="*/ 23 h 116"/>
                  <a:gd name="T8" fmla="*/ 55 w 68"/>
                  <a:gd name="T9" fmla="*/ 16 h 116"/>
                  <a:gd name="T10" fmla="*/ 68 w 68"/>
                  <a:gd name="T11" fmla="*/ 91 h 116"/>
                  <a:gd name="T12" fmla="*/ 62 w 68"/>
                  <a:gd name="T13" fmla="*/ 103 h 116"/>
                  <a:gd name="T14" fmla="*/ 63 w 68"/>
                  <a:gd name="T15" fmla="*/ 116 h 116"/>
                  <a:gd name="T16" fmla="*/ 38 w 68"/>
                  <a:gd name="T17" fmla="*/ 65 h 116"/>
                  <a:gd name="T18" fmla="*/ 54 w 68"/>
                  <a:gd name="T19" fmla="*/ 91 h 116"/>
                  <a:gd name="T20" fmla="*/ 44 w 68"/>
                  <a:gd name="T21" fmla="*/ 60 h 116"/>
                  <a:gd name="T22" fmla="*/ 38 w 68"/>
                  <a:gd name="T23" fmla="*/ 65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8" h="116">
                    <a:moveTo>
                      <a:pt x="63" y="116"/>
                    </a:moveTo>
                    <a:cubicBezTo>
                      <a:pt x="62" y="116"/>
                      <a:pt x="60" y="116"/>
                      <a:pt x="60" y="116"/>
                    </a:cubicBezTo>
                    <a:cubicBezTo>
                      <a:pt x="46" y="108"/>
                      <a:pt x="26" y="108"/>
                      <a:pt x="16" y="98"/>
                    </a:cubicBezTo>
                    <a:cubicBezTo>
                      <a:pt x="0" y="81"/>
                      <a:pt x="0" y="56"/>
                      <a:pt x="0" y="23"/>
                    </a:cubicBezTo>
                    <a:cubicBezTo>
                      <a:pt x="12" y="8"/>
                      <a:pt x="40" y="0"/>
                      <a:pt x="55" y="16"/>
                    </a:cubicBezTo>
                    <a:cubicBezTo>
                      <a:pt x="60" y="40"/>
                      <a:pt x="62" y="69"/>
                      <a:pt x="68" y="91"/>
                    </a:cubicBezTo>
                    <a:cubicBezTo>
                      <a:pt x="68" y="98"/>
                      <a:pt x="59" y="95"/>
                      <a:pt x="62" y="103"/>
                    </a:cubicBezTo>
                    <a:cubicBezTo>
                      <a:pt x="66" y="106"/>
                      <a:pt x="67" y="110"/>
                      <a:pt x="63" y="116"/>
                    </a:cubicBezTo>
                    <a:close/>
                    <a:moveTo>
                      <a:pt x="38" y="65"/>
                    </a:moveTo>
                    <a:cubicBezTo>
                      <a:pt x="40" y="75"/>
                      <a:pt x="38" y="93"/>
                      <a:pt x="54" y="91"/>
                    </a:cubicBezTo>
                    <a:cubicBezTo>
                      <a:pt x="47" y="85"/>
                      <a:pt x="50" y="69"/>
                      <a:pt x="44" y="60"/>
                    </a:cubicBezTo>
                    <a:cubicBezTo>
                      <a:pt x="43" y="64"/>
                      <a:pt x="38" y="61"/>
                      <a:pt x="38" y="6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35" name="Freeform 161">
                <a:extLst>
                  <a:ext uri="{FF2B5EF4-FFF2-40B4-BE49-F238E27FC236}">
                    <a16:creationId xmlns:a16="http://schemas.microsoft.com/office/drawing/2014/main" id="{57D4D3B4-9855-43FD-9BBE-5660F457F7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1695456"/>
                <a:ext cx="525465" cy="1109667"/>
              </a:xfrm>
              <a:custGeom>
                <a:avLst/>
                <a:gdLst>
                  <a:gd name="T0" fmla="*/ 139 w 140"/>
                  <a:gd name="T1" fmla="*/ 64 h 296"/>
                  <a:gd name="T2" fmla="*/ 139 w 140"/>
                  <a:gd name="T3" fmla="*/ 71 h 296"/>
                  <a:gd name="T4" fmla="*/ 138 w 140"/>
                  <a:gd name="T5" fmla="*/ 71 h 296"/>
                  <a:gd name="T6" fmla="*/ 93 w 140"/>
                  <a:gd name="T7" fmla="*/ 296 h 296"/>
                  <a:gd name="T8" fmla="*/ 84 w 140"/>
                  <a:gd name="T9" fmla="*/ 296 h 296"/>
                  <a:gd name="T10" fmla="*/ 75 w 140"/>
                  <a:gd name="T11" fmla="*/ 294 h 296"/>
                  <a:gd name="T12" fmla="*/ 63 w 140"/>
                  <a:gd name="T13" fmla="*/ 261 h 296"/>
                  <a:gd name="T14" fmla="*/ 33 w 140"/>
                  <a:gd name="T15" fmla="*/ 170 h 296"/>
                  <a:gd name="T16" fmla="*/ 0 w 140"/>
                  <a:gd name="T17" fmla="*/ 34 h 296"/>
                  <a:gd name="T18" fmla="*/ 0 w 140"/>
                  <a:gd name="T19" fmla="*/ 27 h 296"/>
                  <a:gd name="T20" fmla="*/ 16 w 140"/>
                  <a:gd name="T21" fmla="*/ 0 h 296"/>
                  <a:gd name="T22" fmla="*/ 67 w 140"/>
                  <a:gd name="T23" fmla="*/ 34 h 296"/>
                  <a:gd name="T24" fmla="*/ 70 w 140"/>
                  <a:gd name="T25" fmla="*/ 68 h 296"/>
                  <a:gd name="T26" fmla="*/ 81 w 140"/>
                  <a:gd name="T27" fmla="*/ 61 h 296"/>
                  <a:gd name="T28" fmla="*/ 76 w 140"/>
                  <a:gd name="T29" fmla="*/ 43 h 296"/>
                  <a:gd name="T30" fmla="*/ 110 w 140"/>
                  <a:gd name="T31" fmla="*/ 11 h 296"/>
                  <a:gd name="T32" fmla="*/ 121 w 140"/>
                  <a:gd name="T33" fmla="*/ 3 h 296"/>
                  <a:gd name="T34" fmla="*/ 139 w 140"/>
                  <a:gd name="T35" fmla="*/ 64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0" h="296">
                    <a:moveTo>
                      <a:pt x="139" y="64"/>
                    </a:moveTo>
                    <a:cubicBezTo>
                      <a:pt x="139" y="67"/>
                      <a:pt x="139" y="68"/>
                      <a:pt x="139" y="71"/>
                    </a:cubicBezTo>
                    <a:cubicBezTo>
                      <a:pt x="138" y="71"/>
                      <a:pt x="138" y="71"/>
                      <a:pt x="138" y="71"/>
                    </a:cubicBezTo>
                    <a:cubicBezTo>
                      <a:pt x="125" y="148"/>
                      <a:pt x="108" y="221"/>
                      <a:pt x="93" y="296"/>
                    </a:cubicBezTo>
                    <a:cubicBezTo>
                      <a:pt x="90" y="296"/>
                      <a:pt x="87" y="296"/>
                      <a:pt x="84" y="296"/>
                    </a:cubicBezTo>
                    <a:cubicBezTo>
                      <a:pt x="85" y="294"/>
                      <a:pt x="78" y="296"/>
                      <a:pt x="75" y="294"/>
                    </a:cubicBezTo>
                    <a:cubicBezTo>
                      <a:pt x="72" y="291"/>
                      <a:pt x="67" y="273"/>
                      <a:pt x="63" y="261"/>
                    </a:cubicBezTo>
                    <a:cubicBezTo>
                      <a:pt x="53" y="231"/>
                      <a:pt x="42" y="201"/>
                      <a:pt x="33" y="170"/>
                    </a:cubicBezTo>
                    <a:cubicBezTo>
                      <a:pt x="18" y="118"/>
                      <a:pt x="8" y="74"/>
                      <a:pt x="0" y="34"/>
                    </a:cubicBezTo>
                    <a:cubicBezTo>
                      <a:pt x="0" y="32"/>
                      <a:pt x="0" y="29"/>
                      <a:pt x="0" y="27"/>
                    </a:cubicBezTo>
                    <a:cubicBezTo>
                      <a:pt x="3" y="16"/>
                      <a:pt x="3" y="0"/>
                      <a:pt x="16" y="0"/>
                    </a:cubicBezTo>
                    <a:cubicBezTo>
                      <a:pt x="31" y="13"/>
                      <a:pt x="49" y="23"/>
                      <a:pt x="67" y="34"/>
                    </a:cubicBezTo>
                    <a:cubicBezTo>
                      <a:pt x="74" y="43"/>
                      <a:pt x="71" y="56"/>
                      <a:pt x="70" y="68"/>
                    </a:cubicBezTo>
                    <a:cubicBezTo>
                      <a:pt x="75" y="68"/>
                      <a:pt x="80" y="64"/>
                      <a:pt x="81" y="61"/>
                    </a:cubicBezTo>
                    <a:cubicBezTo>
                      <a:pt x="80" y="62"/>
                      <a:pt x="72" y="49"/>
                      <a:pt x="76" y="43"/>
                    </a:cubicBezTo>
                    <a:cubicBezTo>
                      <a:pt x="87" y="33"/>
                      <a:pt x="98" y="22"/>
                      <a:pt x="110" y="11"/>
                    </a:cubicBezTo>
                    <a:cubicBezTo>
                      <a:pt x="114" y="8"/>
                      <a:pt x="116" y="0"/>
                      <a:pt x="121" y="3"/>
                    </a:cubicBezTo>
                    <a:cubicBezTo>
                      <a:pt x="140" y="11"/>
                      <a:pt x="134" y="43"/>
                      <a:pt x="139" y="64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36" name="Freeform 162">
                <a:extLst>
                  <a:ext uri="{FF2B5EF4-FFF2-40B4-BE49-F238E27FC236}">
                    <a16:creationId xmlns:a16="http://schemas.microsoft.com/office/drawing/2014/main" id="{C4CC7543-CC8F-4532-A980-881419AD71C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19371" y="1709743"/>
                <a:ext cx="1695457" cy="2039945"/>
              </a:xfrm>
              <a:custGeom>
                <a:avLst/>
                <a:gdLst>
                  <a:gd name="T0" fmla="*/ 289 w 452"/>
                  <a:gd name="T1" fmla="*/ 0 h 544"/>
                  <a:gd name="T2" fmla="*/ 293 w 452"/>
                  <a:gd name="T3" fmla="*/ 0 h 544"/>
                  <a:gd name="T4" fmla="*/ 403 w 452"/>
                  <a:gd name="T5" fmla="*/ 35 h 544"/>
                  <a:gd name="T6" fmla="*/ 413 w 452"/>
                  <a:gd name="T7" fmla="*/ 78 h 544"/>
                  <a:gd name="T8" fmla="*/ 414 w 452"/>
                  <a:gd name="T9" fmla="*/ 130 h 544"/>
                  <a:gd name="T10" fmla="*/ 421 w 452"/>
                  <a:gd name="T11" fmla="*/ 163 h 544"/>
                  <a:gd name="T12" fmla="*/ 424 w 452"/>
                  <a:gd name="T13" fmla="*/ 225 h 544"/>
                  <a:gd name="T14" fmla="*/ 446 w 452"/>
                  <a:gd name="T15" fmla="*/ 341 h 544"/>
                  <a:gd name="T16" fmla="*/ 452 w 452"/>
                  <a:gd name="T17" fmla="*/ 475 h 544"/>
                  <a:gd name="T18" fmla="*/ 439 w 452"/>
                  <a:gd name="T19" fmla="*/ 471 h 544"/>
                  <a:gd name="T20" fmla="*/ 395 w 452"/>
                  <a:gd name="T21" fmla="*/ 476 h 544"/>
                  <a:gd name="T22" fmla="*/ 395 w 452"/>
                  <a:gd name="T23" fmla="*/ 513 h 544"/>
                  <a:gd name="T24" fmla="*/ 340 w 452"/>
                  <a:gd name="T25" fmla="*/ 517 h 544"/>
                  <a:gd name="T26" fmla="*/ 289 w 452"/>
                  <a:gd name="T27" fmla="*/ 470 h 544"/>
                  <a:gd name="T28" fmla="*/ 248 w 452"/>
                  <a:gd name="T29" fmla="*/ 372 h 544"/>
                  <a:gd name="T30" fmla="*/ 206 w 452"/>
                  <a:gd name="T31" fmla="*/ 527 h 544"/>
                  <a:gd name="T32" fmla="*/ 70 w 452"/>
                  <a:gd name="T33" fmla="*/ 523 h 544"/>
                  <a:gd name="T34" fmla="*/ 70 w 452"/>
                  <a:gd name="T35" fmla="*/ 499 h 544"/>
                  <a:gd name="T36" fmla="*/ 56 w 452"/>
                  <a:gd name="T37" fmla="*/ 486 h 544"/>
                  <a:gd name="T38" fmla="*/ 4 w 452"/>
                  <a:gd name="T39" fmla="*/ 499 h 544"/>
                  <a:gd name="T40" fmla="*/ 4 w 452"/>
                  <a:gd name="T41" fmla="*/ 364 h 544"/>
                  <a:gd name="T42" fmla="*/ 12 w 452"/>
                  <a:gd name="T43" fmla="*/ 322 h 544"/>
                  <a:gd name="T44" fmla="*/ 16 w 452"/>
                  <a:gd name="T45" fmla="*/ 264 h 544"/>
                  <a:gd name="T46" fmla="*/ 33 w 452"/>
                  <a:gd name="T47" fmla="*/ 124 h 544"/>
                  <a:gd name="T48" fmla="*/ 49 w 452"/>
                  <a:gd name="T49" fmla="*/ 44 h 544"/>
                  <a:gd name="T50" fmla="*/ 107 w 452"/>
                  <a:gd name="T51" fmla="*/ 25 h 544"/>
                  <a:gd name="T52" fmla="*/ 163 w 452"/>
                  <a:gd name="T53" fmla="*/ 4 h 544"/>
                  <a:gd name="T54" fmla="*/ 196 w 452"/>
                  <a:gd name="T55" fmla="*/ 153 h 544"/>
                  <a:gd name="T56" fmla="*/ 228 w 452"/>
                  <a:gd name="T57" fmla="*/ 255 h 544"/>
                  <a:gd name="T58" fmla="*/ 244 w 452"/>
                  <a:gd name="T59" fmla="*/ 285 h 544"/>
                  <a:gd name="T60" fmla="*/ 251 w 452"/>
                  <a:gd name="T61" fmla="*/ 265 h 544"/>
                  <a:gd name="T62" fmla="*/ 256 w 452"/>
                  <a:gd name="T63" fmla="*/ 242 h 544"/>
                  <a:gd name="T64" fmla="*/ 285 w 452"/>
                  <a:gd name="T65" fmla="*/ 109 h 544"/>
                  <a:gd name="T66" fmla="*/ 289 w 452"/>
                  <a:gd name="T67" fmla="*/ 0 h 544"/>
                  <a:gd name="T68" fmla="*/ 80 w 452"/>
                  <a:gd name="T69" fmla="*/ 314 h 544"/>
                  <a:gd name="T70" fmla="*/ 80 w 452"/>
                  <a:gd name="T71" fmla="*/ 344 h 544"/>
                  <a:gd name="T72" fmla="*/ 80 w 452"/>
                  <a:gd name="T73" fmla="*/ 383 h 544"/>
                  <a:gd name="T74" fmla="*/ 92 w 452"/>
                  <a:gd name="T75" fmla="*/ 332 h 544"/>
                  <a:gd name="T76" fmla="*/ 92 w 452"/>
                  <a:gd name="T77" fmla="*/ 265 h 544"/>
                  <a:gd name="T78" fmla="*/ 80 w 452"/>
                  <a:gd name="T79" fmla="*/ 314 h 5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52" h="544">
                    <a:moveTo>
                      <a:pt x="289" y="0"/>
                    </a:moveTo>
                    <a:cubicBezTo>
                      <a:pt x="290" y="0"/>
                      <a:pt x="291" y="0"/>
                      <a:pt x="293" y="0"/>
                    </a:cubicBezTo>
                    <a:cubicBezTo>
                      <a:pt x="329" y="13"/>
                      <a:pt x="366" y="25"/>
                      <a:pt x="403" y="35"/>
                    </a:cubicBezTo>
                    <a:cubicBezTo>
                      <a:pt x="405" y="50"/>
                      <a:pt x="411" y="63"/>
                      <a:pt x="413" y="78"/>
                    </a:cubicBezTo>
                    <a:cubicBezTo>
                      <a:pt x="414" y="95"/>
                      <a:pt x="413" y="112"/>
                      <a:pt x="414" y="130"/>
                    </a:cubicBezTo>
                    <a:cubicBezTo>
                      <a:pt x="414" y="142"/>
                      <a:pt x="420" y="152"/>
                      <a:pt x="421" y="163"/>
                    </a:cubicBezTo>
                    <a:cubicBezTo>
                      <a:pt x="422" y="185"/>
                      <a:pt x="421" y="205"/>
                      <a:pt x="424" y="225"/>
                    </a:cubicBezTo>
                    <a:cubicBezTo>
                      <a:pt x="429" y="265"/>
                      <a:pt x="441" y="302"/>
                      <a:pt x="446" y="341"/>
                    </a:cubicBezTo>
                    <a:cubicBezTo>
                      <a:pt x="451" y="384"/>
                      <a:pt x="449" y="426"/>
                      <a:pt x="452" y="475"/>
                    </a:cubicBezTo>
                    <a:cubicBezTo>
                      <a:pt x="450" y="480"/>
                      <a:pt x="443" y="472"/>
                      <a:pt x="439" y="471"/>
                    </a:cubicBezTo>
                    <a:cubicBezTo>
                      <a:pt x="424" y="467"/>
                      <a:pt x="404" y="467"/>
                      <a:pt x="395" y="476"/>
                    </a:cubicBezTo>
                    <a:cubicBezTo>
                      <a:pt x="395" y="489"/>
                      <a:pt x="395" y="500"/>
                      <a:pt x="395" y="513"/>
                    </a:cubicBezTo>
                    <a:cubicBezTo>
                      <a:pt x="375" y="513"/>
                      <a:pt x="357" y="519"/>
                      <a:pt x="340" y="517"/>
                    </a:cubicBezTo>
                    <a:cubicBezTo>
                      <a:pt x="312" y="514"/>
                      <a:pt x="301" y="490"/>
                      <a:pt x="289" y="470"/>
                    </a:cubicBezTo>
                    <a:cubicBezTo>
                      <a:pt x="273" y="443"/>
                      <a:pt x="256" y="400"/>
                      <a:pt x="248" y="372"/>
                    </a:cubicBezTo>
                    <a:cubicBezTo>
                      <a:pt x="238" y="428"/>
                      <a:pt x="235" y="489"/>
                      <a:pt x="206" y="527"/>
                    </a:cubicBezTo>
                    <a:cubicBezTo>
                      <a:pt x="171" y="544"/>
                      <a:pt x="108" y="532"/>
                      <a:pt x="70" y="523"/>
                    </a:cubicBezTo>
                    <a:cubicBezTo>
                      <a:pt x="70" y="515"/>
                      <a:pt x="70" y="506"/>
                      <a:pt x="70" y="499"/>
                    </a:cubicBezTo>
                    <a:cubicBezTo>
                      <a:pt x="63" y="501"/>
                      <a:pt x="61" y="490"/>
                      <a:pt x="56" y="486"/>
                    </a:cubicBezTo>
                    <a:cubicBezTo>
                      <a:pt x="35" y="486"/>
                      <a:pt x="19" y="492"/>
                      <a:pt x="4" y="499"/>
                    </a:cubicBezTo>
                    <a:cubicBezTo>
                      <a:pt x="7" y="454"/>
                      <a:pt x="0" y="410"/>
                      <a:pt x="4" y="364"/>
                    </a:cubicBezTo>
                    <a:cubicBezTo>
                      <a:pt x="4" y="350"/>
                      <a:pt x="10" y="336"/>
                      <a:pt x="12" y="322"/>
                    </a:cubicBezTo>
                    <a:cubicBezTo>
                      <a:pt x="14" y="303"/>
                      <a:pt x="14" y="283"/>
                      <a:pt x="16" y="264"/>
                    </a:cubicBezTo>
                    <a:cubicBezTo>
                      <a:pt x="23" y="218"/>
                      <a:pt x="24" y="170"/>
                      <a:pt x="33" y="124"/>
                    </a:cubicBezTo>
                    <a:cubicBezTo>
                      <a:pt x="40" y="97"/>
                      <a:pt x="41" y="69"/>
                      <a:pt x="49" y="44"/>
                    </a:cubicBezTo>
                    <a:cubicBezTo>
                      <a:pt x="67" y="35"/>
                      <a:pt x="87" y="31"/>
                      <a:pt x="107" y="25"/>
                    </a:cubicBezTo>
                    <a:cubicBezTo>
                      <a:pt x="125" y="17"/>
                      <a:pt x="143" y="9"/>
                      <a:pt x="163" y="4"/>
                    </a:cubicBezTo>
                    <a:cubicBezTo>
                      <a:pt x="175" y="54"/>
                      <a:pt x="184" y="105"/>
                      <a:pt x="196" y="153"/>
                    </a:cubicBezTo>
                    <a:cubicBezTo>
                      <a:pt x="205" y="189"/>
                      <a:pt x="217" y="223"/>
                      <a:pt x="228" y="255"/>
                    </a:cubicBezTo>
                    <a:cubicBezTo>
                      <a:pt x="232" y="265"/>
                      <a:pt x="235" y="279"/>
                      <a:pt x="244" y="285"/>
                    </a:cubicBezTo>
                    <a:cubicBezTo>
                      <a:pt x="251" y="280"/>
                      <a:pt x="249" y="271"/>
                      <a:pt x="251" y="265"/>
                    </a:cubicBezTo>
                    <a:cubicBezTo>
                      <a:pt x="252" y="257"/>
                      <a:pt x="253" y="250"/>
                      <a:pt x="256" y="242"/>
                    </a:cubicBezTo>
                    <a:cubicBezTo>
                      <a:pt x="265" y="196"/>
                      <a:pt x="278" y="154"/>
                      <a:pt x="285" y="109"/>
                    </a:cubicBezTo>
                    <a:cubicBezTo>
                      <a:pt x="290" y="75"/>
                      <a:pt x="286" y="35"/>
                      <a:pt x="289" y="0"/>
                    </a:cubicBezTo>
                    <a:close/>
                    <a:moveTo>
                      <a:pt x="80" y="314"/>
                    </a:moveTo>
                    <a:cubicBezTo>
                      <a:pt x="79" y="323"/>
                      <a:pt x="82" y="334"/>
                      <a:pt x="80" y="344"/>
                    </a:cubicBezTo>
                    <a:cubicBezTo>
                      <a:pt x="80" y="356"/>
                      <a:pt x="76" y="370"/>
                      <a:pt x="80" y="383"/>
                    </a:cubicBezTo>
                    <a:cubicBezTo>
                      <a:pt x="84" y="367"/>
                      <a:pt x="88" y="350"/>
                      <a:pt x="92" y="332"/>
                    </a:cubicBezTo>
                    <a:cubicBezTo>
                      <a:pt x="96" y="313"/>
                      <a:pt x="101" y="281"/>
                      <a:pt x="92" y="265"/>
                    </a:cubicBezTo>
                    <a:cubicBezTo>
                      <a:pt x="91" y="284"/>
                      <a:pt x="83" y="297"/>
                      <a:pt x="80" y="314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37" name="Freeform 163">
                <a:extLst>
                  <a:ext uri="{FF2B5EF4-FFF2-40B4-BE49-F238E27FC236}">
                    <a16:creationId xmlns:a16="http://schemas.microsoft.com/office/drawing/2014/main" id="{55E10EF0-A02B-476E-BA8B-2B4A6A4E55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70225" y="1665292"/>
                <a:ext cx="839790" cy="1258889"/>
              </a:xfrm>
              <a:custGeom>
                <a:avLst/>
                <a:gdLst>
                  <a:gd name="T0" fmla="*/ 160 w 224"/>
                  <a:gd name="T1" fmla="*/ 0 h 336"/>
                  <a:gd name="T2" fmla="*/ 161 w 224"/>
                  <a:gd name="T3" fmla="*/ 0 h 336"/>
                  <a:gd name="T4" fmla="*/ 192 w 224"/>
                  <a:gd name="T5" fmla="*/ 20 h 336"/>
                  <a:gd name="T6" fmla="*/ 219 w 224"/>
                  <a:gd name="T7" fmla="*/ 62 h 336"/>
                  <a:gd name="T8" fmla="*/ 202 w 224"/>
                  <a:gd name="T9" fmla="*/ 79 h 336"/>
                  <a:gd name="T10" fmla="*/ 224 w 224"/>
                  <a:gd name="T11" fmla="*/ 101 h 336"/>
                  <a:gd name="T12" fmla="*/ 224 w 224"/>
                  <a:gd name="T13" fmla="*/ 104 h 336"/>
                  <a:gd name="T14" fmla="*/ 122 w 224"/>
                  <a:gd name="T15" fmla="*/ 336 h 336"/>
                  <a:gd name="T16" fmla="*/ 121 w 224"/>
                  <a:gd name="T17" fmla="*/ 308 h 336"/>
                  <a:gd name="T18" fmla="*/ 2 w 224"/>
                  <a:gd name="T19" fmla="*/ 111 h 336"/>
                  <a:gd name="T20" fmla="*/ 17 w 224"/>
                  <a:gd name="T21" fmla="*/ 84 h 336"/>
                  <a:gd name="T22" fmla="*/ 0 w 224"/>
                  <a:gd name="T23" fmla="*/ 65 h 336"/>
                  <a:gd name="T24" fmla="*/ 0 w 224"/>
                  <a:gd name="T25" fmla="*/ 63 h 336"/>
                  <a:gd name="T26" fmla="*/ 48 w 224"/>
                  <a:gd name="T27" fmla="*/ 8 h 336"/>
                  <a:gd name="T28" fmla="*/ 122 w 224"/>
                  <a:gd name="T29" fmla="*/ 293 h 336"/>
                  <a:gd name="T30" fmla="*/ 160 w 224"/>
                  <a:gd name="T31" fmla="*/ 0 h 3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24" h="336">
                    <a:moveTo>
                      <a:pt x="160" y="0"/>
                    </a:moveTo>
                    <a:cubicBezTo>
                      <a:pt x="160" y="0"/>
                      <a:pt x="160" y="0"/>
                      <a:pt x="161" y="0"/>
                    </a:cubicBezTo>
                    <a:cubicBezTo>
                      <a:pt x="169" y="9"/>
                      <a:pt x="177" y="18"/>
                      <a:pt x="192" y="20"/>
                    </a:cubicBezTo>
                    <a:cubicBezTo>
                      <a:pt x="200" y="35"/>
                      <a:pt x="210" y="48"/>
                      <a:pt x="219" y="62"/>
                    </a:cubicBezTo>
                    <a:cubicBezTo>
                      <a:pt x="217" y="69"/>
                      <a:pt x="206" y="72"/>
                      <a:pt x="202" y="79"/>
                    </a:cubicBezTo>
                    <a:cubicBezTo>
                      <a:pt x="209" y="87"/>
                      <a:pt x="217" y="95"/>
                      <a:pt x="224" y="101"/>
                    </a:cubicBezTo>
                    <a:cubicBezTo>
                      <a:pt x="224" y="102"/>
                      <a:pt x="224" y="104"/>
                      <a:pt x="224" y="104"/>
                    </a:cubicBezTo>
                    <a:cubicBezTo>
                      <a:pt x="197" y="189"/>
                      <a:pt x="160" y="263"/>
                      <a:pt x="122" y="336"/>
                    </a:cubicBezTo>
                    <a:cubicBezTo>
                      <a:pt x="117" y="333"/>
                      <a:pt x="118" y="315"/>
                      <a:pt x="121" y="308"/>
                    </a:cubicBezTo>
                    <a:cubicBezTo>
                      <a:pt x="77" y="247"/>
                      <a:pt x="35" y="184"/>
                      <a:pt x="2" y="111"/>
                    </a:cubicBezTo>
                    <a:cubicBezTo>
                      <a:pt x="6" y="101"/>
                      <a:pt x="12" y="93"/>
                      <a:pt x="17" y="84"/>
                    </a:cubicBezTo>
                    <a:cubicBezTo>
                      <a:pt x="15" y="76"/>
                      <a:pt x="7" y="72"/>
                      <a:pt x="0" y="65"/>
                    </a:cubicBezTo>
                    <a:cubicBezTo>
                      <a:pt x="0" y="65"/>
                      <a:pt x="0" y="64"/>
                      <a:pt x="0" y="63"/>
                    </a:cubicBezTo>
                    <a:cubicBezTo>
                      <a:pt x="16" y="44"/>
                      <a:pt x="25" y="18"/>
                      <a:pt x="48" y="8"/>
                    </a:cubicBezTo>
                    <a:cubicBezTo>
                      <a:pt x="73" y="104"/>
                      <a:pt x="95" y="200"/>
                      <a:pt x="122" y="293"/>
                    </a:cubicBezTo>
                    <a:cubicBezTo>
                      <a:pt x="136" y="198"/>
                      <a:pt x="164" y="114"/>
                      <a:pt x="160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38" name="Freeform 164">
                <a:extLst>
                  <a:ext uri="{FF2B5EF4-FFF2-40B4-BE49-F238E27FC236}">
                    <a16:creationId xmlns:a16="http://schemas.microsoft.com/office/drawing/2014/main" id="{4BE5313A-218C-4083-ADB0-F07C492DB5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9611" y="1619255"/>
                <a:ext cx="165099" cy="330202"/>
              </a:xfrm>
              <a:custGeom>
                <a:avLst/>
                <a:gdLst>
                  <a:gd name="T0" fmla="*/ 0 w 44"/>
                  <a:gd name="T1" fmla="*/ 21 h 88"/>
                  <a:gd name="T2" fmla="*/ 0 w 44"/>
                  <a:gd name="T3" fmla="*/ 21 h 88"/>
                  <a:gd name="T4" fmla="*/ 12 w 44"/>
                  <a:gd name="T5" fmla="*/ 0 h 88"/>
                  <a:gd name="T6" fmla="*/ 44 w 44"/>
                  <a:gd name="T7" fmla="*/ 46 h 88"/>
                  <a:gd name="T8" fmla="*/ 19 w 44"/>
                  <a:gd name="T9" fmla="*/ 88 h 88"/>
                  <a:gd name="T10" fmla="*/ 0 w 44"/>
                  <a:gd name="T11" fmla="*/ 21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88">
                    <a:moveTo>
                      <a:pt x="0" y="21"/>
                    </a:moveTo>
                    <a:cubicBezTo>
                      <a:pt x="0" y="21"/>
                      <a:pt x="0" y="21"/>
                      <a:pt x="0" y="21"/>
                    </a:cubicBezTo>
                    <a:cubicBezTo>
                      <a:pt x="8" y="17"/>
                      <a:pt x="6" y="4"/>
                      <a:pt x="12" y="0"/>
                    </a:cubicBezTo>
                    <a:cubicBezTo>
                      <a:pt x="17" y="21"/>
                      <a:pt x="35" y="28"/>
                      <a:pt x="44" y="46"/>
                    </a:cubicBezTo>
                    <a:cubicBezTo>
                      <a:pt x="32" y="56"/>
                      <a:pt x="35" y="82"/>
                      <a:pt x="19" y="88"/>
                    </a:cubicBezTo>
                    <a:cubicBezTo>
                      <a:pt x="11" y="63"/>
                      <a:pt x="8" y="50"/>
                      <a:pt x="0" y="21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39" name="Freeform 165">
                <a:extLst>
                  <a:ext uri="{FF2B5EF4-FFF2-40B4-BE49-F238E27FC236}">
                    <a16:creationId xmlns:a16="http://schemas.microsoft.com/office/drawing/2014/main" id="{21A0EB36-7C86-4719-8EA6-D49900BDAC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65526" y="1619255"/>
                <a:ext cx="134939" cy="346075"/>
              </a:xfrm>
              <a:custGeom>
                <a:avLst/>
                <a:gdLst>
                  <a:gd name="T0" fmla="*/ 22 w 36"/>
                  <a:gd name="T1" fmla="*/ 0 h 92"/>
                  <a:gd name="T2" fmla="*/ 22 w 36"/>
                  <a:gd name="T3" fmla="*/ 92 h 92"/>
                  <a:gd name="T4" fmla="*/ 0 w 36"/>
                  <a:gd name="T5" fmla="*/ 46 h 92"/>
                  <a:gd name="T6" fmla="*/ 22 w 36"/>
                  <a:gd name="T7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6" h="92">
                    <a:moveTo>
                      <a:pt x="22" y="0"/>
                    </a:moveTo>
                    <a:cubicBezTo>
                      <a:pt x="36" y="13"/>
                      <a:pt x="29" y="69"/>
                      <a:pt x="22" y="92"/>
                    </a:cubicBezTo>
                    <a:cubicBezTo>
                      <a:pt x="3" y="91"/>
                      <a:pt x="8" y="55"/>
                      <a:pt x="0" y="46"/>
                    </a:cubicBezTo>
                    <a:cubicBezTo>
                      <a:pt x="4" y="29"/>
                      <a:pt x="22" y="26"/>
                      <a:pt x="22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40" name="Freeform 166">
                <a:extLst>
                  <a:ext uri="{FF2B5EF4-FFF2-40B4-BE49-F238E27FC236}">
                    <a16:creationId xmlns:a16="http://schemas.microsoft.com/office/drawing/2014/main" id="{F559F9AD-4DFB-4434-A2F5-34D7A29EB8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6274" y="955678"/>
                <a:ext cx="581026" cy="346075"/>
              </a:xfrm>
              <a:custGeom>
                <a:avLst/>
                <a:gdLst>
                  <a:gd name="T0" fmla="*/ 20 w 155"/>
                  <a:gd name="T1" fmla="*/ 49 h 92"/>
                  <a:gd name="T2" fmla="*/ 54 w 155"/>
                  <a:gd name="T3" fmla="*/ 54 h 92"/>
                  <a:gd name="T4" fmla="*/ 98 w 155"/>
                  <a:gd name="T5" fmla="*/ 59 h 92"/>
                  <a:gd name="T6" fmla="*/ 128 w 155"/>
                  <a:gd name="T7" fmla="*/ 67 h 92"/>
                  <a:gd name="T8" fmla="*/ 136 w 155"/>
                  <a:gd name="T9" fmla="*/ 92 h 92"/>
                  <a:gd name="T10" fmla="*/ 105 w 155"/>
                  <a:gd name="T11" fmla="*/ 5 h 92"/>
                  <a:gd name="T12" fmla="*/ 55 w 155"/>
                  <a:gd name="T13" fmla="*/ 4 h 92"/>
                  <a:gd name="T14" fmla="*/ 24 w 155"/>
                  <a:gd name="T15" fmla="*/ 21 h 92"/>
                  <a:gd name="T16" fmla="*/ 0 w 155"/>
                  <a:gd name="T17" fmla="*/ 45 h 92"/>
                  <a:gd name="T18" fmla="*/ 6 w 155"/>
                  <a:gd name="T19" fmla="*/ 91 h 92"/>
                  <a:gd name="T20" fmla="*/ 7 w 155"/>
                  <a:gd name="T21" fmla="*/ 91 h 92"/>
                  <a:gd name="T22" fmla="*/ 20 w 155"/>
                  <a:gd name="T23" fmla="*/ 49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5" h="92">
                    <a:moveTo>
                      <a:pt x="20" y="49"/>
                    </a:moveTo>
                    <a:cubicBezTo>
                      <a:pt x="28" y="48"/>
                      <a:pt x="33" y="47"/>
                      <a:pt x="54" y="54"/>
                    </a:cubicBezTo>
                    <a:cubicBezTo>
                      <a:pt x="75" y="60"/>
                      <a:pt x="90" y="69"/>
                      <a:pt x="98" y="59"/>
                    </a:cubicBezTo>
                    <a:cubicBezTo>
                      <a:pt x="107" y="49"/>
                      <a:pt x="127" y="62"/>
                      <a:pt x="128" y="67"/>
                    </a:cubicBezTo>
                    <a:cubicBezTo>
                      <a:pt x="130" y="73"/>
                      <a:pt x="136" y="92"/>
                      <a:pt x="136" y="92"/>
                    </a:cubicBezTo>
                    <a:cubicBezTo>
                      <a:pt x="155" y="54"/>
                      <a:pt x="132" y="19"/>
                      <a:pt x="105" y="5"/>
                    </a:cubicBezTo>
                    <a:cubicBezTo>
                      <a:pt x="86" y="5"/>
                      <a:pt x="69" y="0"/>
                      <a:pt x="55" y="4"/>
                    </a:cubicBezTo>
                    <a:cubicBezTo>
                      <a:pt x="43" y="6"/>
                      <a:pt x="34" y="15"/>
                      <a:pt x="24" y="21"/>
                    </a:cubicBezTo>
                    <a:cubicBezTo>
                      <a:pt x="15" y="29"/>
                      <a:pt x="4" y="35"/>
                      <a:pt x="0" y="45"/>
                    </a:cubicBezTo>
                    <a:cubicBezTo>
                      <a:pt x="1" y="62"/>
                      <a:pt x="1" y="77"/>
                      <a:pt x="6" y="91"/>
                    </a:cubicBezTo>
                    <a:cubicBezTo>
                      <a:pt x="7" y="91"/>
                      <a:pt x="7" y="91"/>
                      <a:pt x="7" y="91"/>
                    </a:cubicBezTo>
                    <a:cubicBezTo>
                      <a:pt x="9" y="82"/>
                      <a:pt x="14" y="51"/>
                      <a:pt x="20" y="49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41" name="Freeform 167">
                <a:extLst>
                  <a:ext uri="{FF2B5EF4-FFF2-40B4-BE49-F238E27FC236}">
                    <a16:creationId xmlns:a16="http://schemas.microsoft.com/office/drawing/2014/main" id="{98DCD476-252D-4AA7-AED5-90D9376B49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16312" y="2133606"/>
                <a:ext cx="71438" cy="96838"/>
              </a:xfrm>
              <a:custGeom>
                <a:avLst/>
                <a:gdLst>
                  <a:gd name="T0" fmla="*/ 5 w 19"/>
                  <a:gd name="T1" fmla="*/ 10 h 26"/>
                  <a:gd name="T2" fmla="*/ 11 w 19"/>
                  <a:gd name="T3" fmla="*/ 2 h 26"/>
                  <a:gd name="T4" fmla="*/ 15 w 19"/>
                  <a:gd name="T5" fmla="*/ 10 h 26"/>
                  <a:gd name="T6" fmla="*/ 0 w 19"/>
                  <a:gd name="T7" fmla="*/ 22 h 26"/>
                  <a:gd name="T8" fmla="*/ 5 w 19"/>
                  <a:gd name="T9" fmla="*/ 1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6">
                    <a:moveTo>
                      <a:pt x="5" y="10"/>
                    </a:moveTo>
                    <a:cubicBezTo>
                      <a:pt x="9" y="6"/>
                      <a:pt x="5" y="0"/>
                      <a:pt x="11" y="2"/>
                    </a:cubicBezTo>
                    <a:cubicBezTo>
                      <a:pt x="16" y="4"/>
                      <a:pt x="19" y="5"/>
                      <a:pt x="15" y="10"/>
                    </a:cubicBezTo>
                    <a:cubicBezTo>
                      <a:pt x="11" y="16"/>
                      <a:pt x="0" y="26"/>
                      <a:pt x="0" y="22"/>
                    </a:cubicBezTo>
                    <a:cubicBezTo>
                      <a:pt x="0" y="19"/>
                      <a:pt x="5" y="10"/>
                      <a:pt x="5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42" name="Freeform 168">
                <a:extLst>
                  <a:ext uri="{FF2B5EF4-FFF2-40B4-BE49-F238E27FC236}">
                    <a16:creationId xmlns:a16="http://schemas.microsoft.com/office/drawing/2014/main" id="{01CC0FD6-42B9-4535-8019-BF30AB6A12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7261" y="2354269"/>
                <a:ext cx="71438" cy="93661"/>
              </a:xfrm>
              <a:custGeom>
                <a:avLst/>
                <a:gdLst>
                  <a:gd name="T0" fmla="*/ 6 w 19"/>
                  <a:gd name="T1" fmla="*/ 10 h 25"/>
                  <a:gd name="T2" fmla="*/ 11 w 19"/>
                  <a:gd name="T3" fmla="*/ 2 h 25"/>
                  <a:gd name="T4" fmla="*/ 15 w 19"/>
                  <a:gd name="T5" fmla="*/ 10 h 25"/>
                  <a:gd name="T6" fmla="*/ 0 w 19"/>
                  <a:gd name="T7" fmla="*/ 22 h 25"/>
                  <a:gd name="T8" fmla="*/ 6 w 19"/>
                  <a:gd name="T9" fmla="*/ 1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5">
                    <a:moveTo>
                      <a:pt x="6" y="10"/>
                    </a:moveTo>
                    <a:cubicBezTo>
                      <a:pt x="9" y="5"/>
                      <a:pt x="6" y="0"/>
                      <a:pt x="11" y="2"/>
                    </a:cubicBezTo>
                    <a:cubicBezTo>
                      <a:pt x="16" y="4"/>
                      <a:pt x="19" y="4"/>
                      <a:pt x="15" y="10"/>
                    </a:cubicBezTo>
                    <a:cubicBezTo>
                      <a:pt x="11" y="15"/>
                      <a:pt x="0" y="25"/>
                      <a:pt x="0" y="22"/>
                    </a:cubicBezTo>
                    <a:cubicBezTo>
                      <a:pt x="0" y="19"/>
                      <a:pt x="6" y="10"/>
                      <a:pt x="6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43" name="Freeform 169">
                <a:extLst>
                  <a:ext uri="{FF2B5EF4-FFF2-40B4-BE49-F238E27FC236}">
                    <a16:creationId xmlns:a16="http://schemas.microsoft.com/office/drawing/2014/main" id="{CB4B5012-9816-4E09-BE4D-9969AA06C9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27349" y="2073282"/>
                <a:ext cx="49214" cy="630240"/>
              </a:xfrm>
              <a:custGeom>
                <a:avLst/>
                <a:gdLst>
                  <a:gd name="T0" fmla="*/ 10 w 13"/>
                  <a:gd name="T1" fmla="*/ 168 h 168"/>
                  <a:gd name="T2" fmla="*/ 6 w 13"/>
                  <a:gd name="T3" fmla="*/ 39 h 168"/>
                  <a:gd name="T4" fmla="*/ 6 w 13"/>
                  <a:gd name="T5" fmla="*/ 10 h 168"/>
                  <a:gd name="T6" fmla="*/ 13 w 13"/>
                  <a:gd name="T7" fmla="*/ 10 h 168"/>
                  <a:gd name="T8" fmla="*/ 10 w 13"/>
                  <a:gd name="T9" fmla="*/ 168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68">
                    <a:moveTo>
                      <a:pt x="10" y="168"/>
                    </a:moveTo>
                    <a:cubicBezTo>
                      <a:pt x="10" y="168"/>
                      <a:pt x="11" y="61"/>
                      <a:pt x="6" y="39"/>
                    </a:cubicBezTo>
                    <a:cubicBezTo>
                      <a:pt x="0" y="17"/>
                      <a:pt x="2" y="10"/>
                      <a:pt x="6" y="10"/>
                    </a:cubicBezTo>
                    <a:cubicBezTo>
                      <a:pt x="10" y="10"/>
                      <a:pt x="13" y="0"/>
                      <a:pt x="13" y="10"/>
                    </a:cubicBezTo>
                    <a:cubicBezTo>
                      <a:pt x="13" y="20"/>
                      <a:pt x="10" y="168"/>
                      <a:pt x="10" y="168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44" name="Freeform 170">
                <a:extLst>
                  <a:ext uri="{FF2B5EF4-FFF2-40B4-BE49-F238E27FC236}">
                    <a16:creationId xmlns:a16="http://schemas.microsoft.com/office/drawing/2014/main" id="{830FB800-EE2F-48BB-989D-454C3D9081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06853" y="2106619"/>
                <a:ext cx="98425" cy="1320804"/>
              </a:xfrm>
              <a:custGeom>
                <a:avLst/>
                <a:gdLst>
                  <a:gd name="T0" fmla="*/ 26 w 26"/>
                  <a:gd name="T1" fmla="*/ 352 h 352"/>
                  <a:gd name="T2" fmla="*/ 7 w 26"/>
                  <a:gd name="T3" fmla="*/ 213 h 352"/>
                  <a:gd name="T4" fmla="*/ 7 w 26"/>
                  <a:gd name="T5" fmla="*/ 145 h 352"/>
                  <a:gd name="T6" fmla="*/ 0 w 26"/>
                  <a:gd name="T7" fmla="*/ 30 h 352"/>
                  <a:gd name="T8" fmla="*/ 10 w 26"/>
                  <a:gd name="T9" fmla="*/ 0 h 352"/>
                  <a:gd name="T10" fmla="*/ 10 w 26"/>
                  <a:gd name="T11" fmla="*/ 6 h 352"/>
                  <a:gd name="T12" fmla="*/ 26 w 26"/>
                  <a:gd name="T13" fmla="*/ 352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352">
                    <a:moveTo>
                      <a:pt x="26" y="352"/>
                    </a:moveTo>
                    <a:cubicBezTo>
                      <a:pt x="26" y="347"/>
                      <a:pt x="8" y="236"/>
                      <a:pt x="7" y="213"/>
                    </a:cubicBezTo>
                    <a:cubicBezTo>
                      <a:pt x="6" y="189"/>
                      <a:pt x="9" y="165"/>
                      <a:pt x="7" y="145"/>
                    </a:cubicBezTo>
                    <a:cubicBezTo>
                      <a:pt x="5" y="126"/>
                      <a:pt x="0" y="48"/>
                      <a:pt x="0" y="30"/>
                    </a:cubicBezTo>
                    <a:cubicBezTo>
                      <a:pt x="1" y="12"/>
                      <a:pt x="10" y="0"/>
                      <a:pt x="10" y="0"/>
                    </a:cubicBezTo>
                    <a:cubicBezTo>
                      <a:pt x="10" y="6"/>
                      <a:pt x="10" y="6"/>
                      <a:pt x="10" y="6"/>
                    </a:cubicBezTo>
                    <a:lnTo>
                      <a:pt x="26" y="352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45" name="Freeform 171">
                <a:extLst>
                  <a:ext uri="{FF2B5EF4-FFF2-40B4-BE49-F238E27FC236}">
                    <a16:creationId xmlns:a16="http://schemas.microsoft.com/office/drawing/2014/main" id="{866E6995-2D70-454A-95C6-7E0A808D21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0476" y="3135321"/>
                <a:ext cx="222250" cy="58738"/>
              </a:xfrm>
              <a:custGeom>
                <a:avLst/>
                <a:gdLst>
                  <a:gd name="T0" fmla="*/ 0 w 59"/>
                  <a:gd name="T1" fmla="*/ 16 h 16"/>
                  <a:gd name="T2" fmla="*/ 52 w 59"/>
                  <a:gd name="T3" fmla="*/ 7 h 16"/>
                  <a:gd name="T4" fmla="*/ 59 w 59"/>
                  <a:gd name="T5" fmla="*/ 7 h 16"/>
                  <a:gd name="T6" fmla="*/ 0 w 59"/>
                  <a:gd name="T7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9" h="16">
                    <a:moveTo>
                      <a:pt x="0" y="16"/>
                    </a:moveTo>
                    <a:cubicBezTo>
                      <a:pt x="0" y="16"/>
                      <a:pt x="49" y="13"/>
                      <a:pt x="52" y="7"/>
                    </a:cubicBezTo>
                    <a:cubicBezTo>
                      <a:pt x="55" y="0"/>
                      <a:pt x="59" y="3"/>
                      <a:pt x="59" y="7"/>
                    </a:cubicBezTo>
                    <a:cubicBezTo>
                      <a:pt x="58" y="11"/>
                      <a:pt x="0" y="16"/>
                      <a:pt x="0" y="16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46" name="Freeform 172">
                <a:extLst>
                  <a:ext uri="{FF2B5EF4-FFF2-40B4-BE49-F238E27FC236}">
                    <a16:creationId xmlns:a16="http://schemas.microsoft.com/office/drawing/2014/main" id="{E4FAFD53-A5F7-4672-A560-E482E94056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7627" y="3224223"/>
                <a:ext cx="198440" cy="282574"/>
              </a:xfrm>
              <a:custGeom>
                <a:avLst/>
                <a:gdLst>
                  <a:gd name="T0" fmla="*/ 44 w 53"/>
                  <a:gd name="T1" fmla="*/ 0 h 75"/>
                  <a:gd name="T2" fmla="*/ 53 w 53"/>
                  <a:gd name="T3" fmla="*/ 75 h 75"/>
                  <a:gd name="T4" fmla="*/ 24 w 53"/>
                  <a:gd name="T5" fmla="*/ 75 h 75"/>
                  <a:gd name="T6" fmla="*/ 14 w 53"/>
                  <a:gd name="T7" fmla="*/ 69 h 75"/>
                  <a:gd name="T8" fmla="*/ 34 w 53"/>
                  <a:gd name="T9" fmla="*/ 61 h 75"/>
                  <a:gd name="T10" fmla="*/ 22 w 53"/>
                  <a:gd name="T11" fmla="*/ 38 h 75"/>
                  <a:gd name="T12" fmla="*/ 44 w 53"/>
                  <a:gd name="T1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3" h="75">
                    <a:moveTo>
                      <a:pt x="44" y="0"/>
                    </a:moveTo>
                    <a:cubicBezTo>
                      <a:pt x="53" y="75"/>
                      <a:pt x="53" y="75"/>
                      <a:pt x="53" y="75"/>
                    </a:cubicBezTo>
                    <a:cubicBezTo>
                      <a:pt x="24" y="75"/>
                      <a:pt x="24" y="75"/>
                      <a:pt x="24" y="75"/>
                    </a:cubicBezTo>
                    <a:cubicBezTo>
                      <a:pt x="24" y="75"/>
                      <a:pt x="0" y="69"/>
                      <a:pt x="14" y="69"/>
                    </a:cubicBezTo>
                    <a:cubicBezTo>
                      <a:pt x="29" y="68"/>
                      <a:pt x="42" y="73"/>
                      <a:pt x="34" y="61"/>
                    </a:cubicBezTo>
                    <a:cubicBezTo>
                      <a:pt x="27" y="48"/>
                      <a:pt x="6" y="41"/>
                      <a:pt x="22" y="38"/>
                    </a:cubicBezTo>
                    <a:cubicBezTo>
                      <a:pt x="38" y="34"/>
                      <a:pt x="44" y="0"/>
                      <a:pt x="44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47" name="Freeform 173">
                <a:extLst>
                  <a:ext uri="{FF2B5EF4-FFF2-40B4-BE49-F238E27FC236}">
                    <a16:creationId xmlns:a16="http://schemas.microsoft.com/office/drawing/2014/main" id="{CF267542-B492-48A1-BAD7-D986F07DCB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59122" y="2576519"/>
                <a:ext cx="60324" cy="490537"/>
              </a:xfrm>
              <a:custGeom>
                <a:avLst/>
                <a:gdLst>
                  <a:gd name="T0" fmla="*/ 0 w 38"/>
                  <a:gd name="T1" fmla="*/ 0 h 309"/>
                  <a:gd name="T2" fmla="*/ 29 w 38"/>
                  <a:gd name="T3" fmla="*/ 309 h 309"/>
                  <a:gd name="T4" fmla="*/ 38 w 38"/>
                  <a:gd name="T5" fmla="*/ 293 h 309"/>
                  <a:gd name="T6" fmla="*/ 0 w 38"/>
                  <a:gd name="T7" fmla="*/ 0 h 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8" h="309">
                    <a:moveTo>
                      <a:pt x="0" y="0"/>
                    </a:moveTo>
                    <a:lnTo>
                      <a:pt x="29" y="309"/>
                    </a:lnTo>
                    <a:lnTo>
                      <a:pt x="38" y="29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48" name="Freeform 174">
                <a:extLst>
                  <a:ext uri="{FF2B5EF4-FFF2-40B4-BE49-F238E27FC236}">
                    <a16:creationId xmlns:a16="http://schemas.microsoft.com/office/drawing/2014/main" id="{32471C94-612A-4F46-9F83-8C7C08172C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157549"/>
                <a:ext cx="288924" cy="93661"/>
              </a:xfrm>
              <a:custGeom>
                <a:avLst/>
                <a:gdLst>
                  <a:gd name="T0" fmla="*/ 0 w 77"/>
                  <a:gd name="T1" fmla="*/ 0 h 25"/>
                  <a:gd name="T2" fmla="*/ 75 w 77"/>
                  <a:gd name="T3" fmla="*/ 10 h 25"/>
                  <a:gd name="T4" fmla="*/ 68 w 77"/>
                  <a:gd name="T5" fmla="*/ 25 h 25"/>
                  <a:gd name="T6" fmla="*/ 0 w 77"/>
                  <a:gd name="T7" fmla="*/ 12 h 25"/>
                  <a:gd name="T8" fmla="*/ 0 w 77"/>
                  <a:gd name="T9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7" h="25">
                    <a:moveTo>
                      <a:pt x="0" y="0"/>
                    </a:moveTo>
                    <a:cubicBezTo>
                      <a:pt x="0" y="0"/>
                      <a:pt x="73" y="9"/>
                      <a:pt x="75" y="10"/>
                    </a:cubicBezTo>
                    <a:cubicBezTo>
                      <a:pt x="77" y="11"/>
                      <a:pt x="68" y="25"/>
                      <a:pt x="68" y="25"/>
                    </a:cubicBezTo>
                    <a:cubicBezTo>
                      <a:pt x="0" y="12"/>
                      <a:pt x="0" y="12"/>
                      <a:pt x="0" y="12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49" name="Freeform 175">
                <a:extLst>
                  <a:ext uri="{FF2B5EF4-FFF2-40B4-BE49-F238E27FC236}">
                    <a16:creationId xmlns:a16="http://schemas.microsoft.com/office/drawing/2014/main" id="{470D9A97-455A-4BE1-8532-21F214C565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333761"/>
                <a:ext cx="242887" cy="236537"/>
              </a:xfrm>
              <a:custGeom>
                <a:avLst/>
                <a:gdLst>
                  <a:gd name="T0" fmla="*/ 65 w 65"/>
                  <a:gd name="T1" fmla="*/ 0 h 63"/>
                  <a:gd name="T2" fmla="*/ 50 w 65"/>
                  <a:gd name="T3" fmla="*/ 60 h 63"/>
                  <a:gd name="T4" fmla="*/ 9 w 65"/>
                  <a:gd name="T5" fmla="*/ 52 h 63"/>
                  <a:gd name="T6" fmla="*/ 18 w 65"/>
                  <a:gd name="T7" fmla="*/ 46 h 63"/>
                  <a:gd name="T8" fmla="*/ 49 w 65"/>
                  <a:gd name="T9" fmla="*/ 46 h 63"/>
                  <a:gd name="T10" fmla="*/ 65 w 65"/>
                  <a:gd name="T11" fmla="*/ 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5" h="63">
                    <a:moveTo>
                      <a:pt x="65" y="0"/>
                    </a:moveTo>
                    <a:cubicBezTo>
                      <a:pt x="50" y="60"/>
                      <a:pt x="50" y="60"/>
                      <a:pt x="50" y="60"/>
                    </a:cubicBezTo>
                    <a:cubicBezTo>
                      <a:pt x="9" y="52"/>
                      <a:pt x="9" y="52"/>
                      <a:pt x="9" y="52"/>
                    </a:cubicBezTo>
                    <a:cubicBezTo>
                      <a:pt x="9" y="52"/>
                      <a:pt x="0" y="47"/>
                      <a:pt x="18" y="46"/>
                    </a:cubicBezTo>
                    <a:cubicBezTo>
                      <a:pt x="36" y="46"/>
                      <a:pt x="48" y="63"/>
                      <a:pt x="49" y="46"/>
                    </a:cubicBezTo>
                    <a:cubicBezTo>
                      <a:pt x="50" y="30"/>
                      <a:pt x="65" y="0"/>
                      <a:pt x="65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50" name="Freeform 176">
                <a:extLst>
                  <a:ext uri="{FF2B5EF4-FFF2-40B4-BE49-F238E27FC236}">
                    <a16:creationId xmlns:a16="http://schemas.microsoft.com/office/drawing/2014/main" id="{B04992F5-BC6B-4CBD-8B68-091FB0A76E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0183" y="2201870"/>
                <a:ext cx="41274" cy="168276"/>
              </a:xfrm>
              <a:custGeom>
                <a:avLst/>
                <a:gdLst>
                  <a:gd name="T0" fmla="*/ 0 w 11"/>
                  <a:gd name="T1" fmla="*/ 0 h 45"/>
                  <a:gd name="T2" fmla="*/ 0 w 11"/>
                  <a:gd name="T3" fmla="*/ 21 h 45"/>
                  <a:gd name="T4" fmla="*/ 2 w 11"/>
                  <a:gd name="T5" fmla="*/ 42 h 45"/>
                  <a:gd name="T6" fmla="*/ 10 w 11"/>
                  <a:gd name="T7" fmla="*/ 5 h 45"/>
                  <a:gd name="T8" fmla="*/ 0 w 11"/>
                  <a:gd name="T9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45">
                    <a:moveTo>
                      <a:pt x="0" y="0"/>
                    </a:moveTo>
                    <a:cubicBezTo>
                      <a:pt x="0" y="5"/>
                      <a:pt x="0" y="13"/>
                      <a:pt x="0" y="21"/>
                    </a:cubicBezTo>
                    <a:cubicBezTo>
                      <a:pt x="1" y="31"/>
                      <a:pt x="2" y="41"/>
                      <a:pt x="2" y="42"/>
                    </a:cubicBezTo>
                    <a:cubicBezTo>
                      <a:pt x="4" y="45"/>
                      <a:pt x="11" y="8"/>
                      <a:pt x="10" y="5"/>
                    </a:cubicBezTo>
                    <a:cubicBezTo>
                      <a:pt x="8" y="2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51" name="Freeform 177">
                <a:extLst>
                  <a:ext uri="{FF2B5EF4-FFF2-40B4-BE49-F238E27FC236}">
                    <a16:creationId xmlns:a16="http://schemas.microsoft.com/office/drawing/2014/main" id="{8407DAC3-B379-4F02-9076-63A4712DDE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1758" y="2786069"/>
                <a:ext cx="150812" cy="352425"/>
              </a:xfrm>
              <a:custGeom>
                <a:avLst/>
                <a:gdLst>
                  <a:gd name="T0" fmla="*/ 0 w 40"/>
                  <a:gd name="T1" fmla="*/ 0 h 94"/>
                  <a:gd name="T2" fmla="*/ 20 w 40"/>
                  <a:gd name="T3" fmla="*/ 64 h 94"/>
                  <a:gd name="T4" fmla="*/ 36 w 40"/>
                  <a:gd name="T5" fmla="*/ 82 h 94"/>
                  <a:gd name="T6" fmla="*/ 14 w 40"/>
                  <a:gd name="T7" fmla="*/ 26 h 94"/>
                  <a:gd name="T8" fmla="*/ 0 w 40"/>
                  <a:gd name="T9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94">
                    <a:moveTo>
                      <a:pt x="0" y="0"/>
                    </a:moveTo>
                    <a:cubicBezTo>
                      <a:pt x="0" y="0"/>
                      <a:pt x="12" y="47"/>
                      <a:pt x="20" y="64"/>
                    </a:cubicBezTo>
                    <a:cubicBezTo>
                      <a:pt x="28" y="82"/>
                      <a:pt x="40" y="94"/>
                      <a:pt x="36" y="82"/>
                    </a:cubicBezTo>
                    <a:cubicBezTo>
                      <a:pt x="32" y="69"/>
                      <a:pt x="20" y="36"/>
                      <a:pt x="14" y="26"/>
                    </a:cubicBezTo>
                    <a:cubicBezTo>
                      <a:pt x="9" y="1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52" name="Freeform 178">
                <a:extLst>
                  <a:ext uri="{FF2B5EF4-FFF2-40B4-BE49-F238E27FC236}">
                    <a16:creationId xmlns:a16="http://schemas.microsoft.com/office/drawing/2014/main" id="{D80E3B2D-B50C-4D82-B38D-ECCBA856BA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9736" y="2860684"/>
                <a:ext cx="49214" cy="247650"/>
              </a:xfrm>
              <a:custGeom>
                <a:avLst/>
                <a:gdLst>
                  <a:gd name="T0" fmla="*/ 0 w 13"/>
                  <a:gd name="T1" fmla="*/ 0 h 66"/>
                  <a:gd name="T2" fmla="*/ 10 w 13"/>
                  <a:gd name="T3" fmla="*/ 31 h 66"/>
                  <a:gd name="T4" fmla="*/ 6 w 13"/>
                  <a:gd name="T5" fmla="*/ 50 h 66"/>
                  <a:gd name="T6" fmla="*/ 0 w 13"/>
                  <a:gd name="T7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66">
                    <a:moveTo>
                      <a:pt x="0" y="0"/>
                    </a:moveTo>
                    <a:cubicBezTo>
                      <a:pt x="0" y="0"/>
                      <a:pt x="13" y="15"/>
                      <a:pt x="10" y="31"/>
                    </a:cubicBezTo>
                    <a:cubicBezTo>
                      <a:pt x="8" y="47"/>
                      <a:pt x="5" y="66"/>
                      <a:pt x="6" y="50"/>
                    </a:cubicBezTo>
                    <a:cubicBezTo>
                      <a:pt x="6" y="3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53" name="Freeform 188">
                <a:extLst>
                  <a:ext uri="{FF2B5EF4-FFF2-40B4-BE49-F238E27FC236}">
                    <a16:creationId xmlns:a16="http://schemas.microsoft.com/office/drawing/2014/main" id="{B0A9AB15-6B81-447D-A3B9-5382C2A1C2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01994" y="1544640"/>
                <a:ext cx="349252" cy="131762"/>
              </a:xfrm>
              <a:custGeom>
                <a:avLst/>
                <a:gdLst>
                  <a:gd name="T0" fmla="*/ 0 w 93"/>
                  <a:gd name="T1" fmla="*/ 0 h 35"/>
                  <a:gd name="T2" fmla="*/ 33 w 93"/>
                  <a:gd name="T3" fmla="*/ 29 h 35"/>
                  <a:gd name="T4" fmla="*/ 68 w 93"/>
                  <a:gd name="T5" fmla="*/ 24 h 35"/>
                  <a:gd name="T6" fmla="*/ 85 w 93"/>
                  <a:gd name="T7" fmla="*/ 7 h 35"/>
                  <a:gd name="T8" fmla="*/ 92 w 93"/>
                  <a:gd name="T9" fmla="*/ 6 h 35"/>
                  <a:gd name="T10" fmla="*/ 85 w 93"/>
                  <a:gd name="T11" fmla="*/ 19 h 35"/>
                  <a:gd name="T12" fmla="*/ 67 w 93"/>
                  <a:gd name="T13" fmla="*/ 32 h 35"/>
                  <a:gd name="T14" fmla="*/ 28 w 93"/>
                  <a:gd name="T15" fmla="*/ 32 h 35"/>
                  <a:gd name="T16" fmla="*/ 0 w 93"/>
                  <a:gd name="T17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3" h="35">
                    <a:moveTo>
                      <a:pt x="0" y="0"/>
                    </a:moveTo>
                    <a:cubicBezTo>
                      <a:pt x="2" y="4"/>
                      <a:pt x="21" y="25"/>
                      <a:pt x="33" y="29"/>
                    </a:cubicBezTo>
                    <a:cubicBezTo>
                      <a:pt x="45" y="32"/>
                      <a:pt x="63" y="29"/>
                      <a:pt x="68" y="24"/>
                    </a:cubicBezTo>
                    <a:cubicBezTo>
                      <a:pt x="73" y="19"/>
                      <a:pt x="84" y="9"/>
                      <a:pt x="85" y="7"/>
                    </a:cubicBezTo>
                    <a:cubicBezTo>
                      <a:pt x="86" y="5"/>
                      <a:pt x="93" y="1"/>
                      <a:pt x="92" y="6"/>
                    </a:cubicBezTo>
                    <a:cubicBezTo>
                      <a:pt x="91" y="10"/>
                      <a:pt x="89" y="14"/>
                      <a:pt x="85" y="19"/>
                    </a:cubicBezTo>
                    <a:cubicBezTo>
                      <a:pt x="82" y="24"/>
                      <a:pt x="75" y="33"/>
                      <a:pt x="67" y="32"/>
                    </a:cubicBezTo>
                    <a:cubicBezTo>
                      <a:pt x="58" y="32"/>
                      <a:pt x="36" y="35"/>
                      <a:pt x="28" y="32"/>
                    </a:cubicBezTo>
                    <a:cubicBezTo>
                      <a:pt x="19" y="3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54" name="Freeform 103">
                <a:extLst>
                  <a:ext uri="{FF2B5EF4-FFF2-40B4-BE49-F238E27FC236}">
                    <a16:creationId xmlns:a16="http://schemas.microsoft.com/office/drawing/2014/main" id="{8AFBD481-C205-42CA-8217-EB56257AF6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3697" y="1061826"/>
                <a:ext cx="226796" cy="66888"/>
              </a:xfrm>
              <a:custGeom>
                <a:avLst/>
                <a:gdLst>
                  <a:gd name="T0" fmla="*/ 9 w 49"/>
                  <a:gd name="T1" fmla="*/ 1 h 23"/>
                  <a:gd name="T2" fmla="*/ 24 w 49"/>
                  <a:gd name="T3" fmla="*/ 8 h 23"/>
                  <a:gd name="T4" fmla="*/ 31 w 49"/>
                  <a:gd name="T5" fmla="*/ 7 h 23"/>
                  <a:gd name="T6" fmla="*/ 44 w 49"/>
                  <a:gd name="T7" fmla="*/ 17 h 23"/>
                  <a:gd name="T8" fmla="*/ 37 w 49"/>
                  <a:gd name="T9" fmla="*/ 17 h 23"/>
                  <a:gd name="T10" fmla="*/ 13 w 49"/>
                  <a:gd name="T11" fmla="*/ 10 h 23"/>
                  <a:gd name="T12" fmla="*/ 9 w 49"/>
                  <a:gd name="T13" fmla="*/ 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" h="23">
                    <a:moveTo>
                      <a:pt x="9" y="1"/>
                    </a:moveTo>
                    <a:cubicBezTo>
                      <a:pt x="9" y="1"/>
                      <a:pt x="20" y="7"/>
                      <a:pt x="24" y="8"/>
                    </a:cubicBezTo>
                    <a:cubicBezTo>
                      <a:pt x="28" y="9"/>
                      <a:pt x="31" y="9"/>
                      <a:pt x="31" y="7"/>
                    </a:cubicBezTo>
                    <a:cubicBezTo>
                      <a:pt x="31" y="4"/>
                      <a:pt x="40" y="11"/>
                      <a:pt x="44" y="17"/>
                    </a:cubicBezTo>
                    <a:cubicBezTo>
                      <a:pt x="49" y="23"/>
                      <a:pt x="44" y="21"/>
                      <a:pt x="37" y="17"/>
                    </a:cubicBezTo>
                    <a:cubicBezTo>
                      <a:pt x="30" y="13"/>
                      <a:pt x="20" y="15"/>
                      <a:pt x="13" y="10"/>
                    </a:cubicBezTo>
                    <a:cubicBezTo>
                      <a:pt x="6" y="5"/>
                      <a:pt x="0" y="0"/>
                      <a:pt x="9" y="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55" name="Freeform 104">
                <a:extLst>
                  <a:ext uri="{FF2B5EF4-FFF2-40B4-BE49-F238E27FC236}">
                    <a16:creationId xmlns:a16="http://schemas.microsoft.com/office/drawing/2014/main" id="{EA22DFD3-F4C9-485E-8878-77A27B48725E}"/>
                  </a:ext>
                </a:extLst>
              </p:cNvPr>
              <p:cNvSpPr>
                <a:spLocks/>
              </p:cNvSpPr>
              <p:nvPr/>
            </p:nvSpPr>
            <p:spPr bwMode="auto">
              <a:xfrm rot="18643239">
                <a:off x="3555600" y="1040771"/>
                <a:ext cx="87944" cy="175885"/>
              </a:xfrm>
              <a:custGeom>
                <a:avLst/>
                <a:gdLst>
                  <a:gd name="T0" fmla="*/ 12 w 30"/>
                  <a:gd name="T1" fmla="*/ 25 h 60"/>
                  <a:gd name="T2" fmla="*/ 20 w 30"/>
                  <a:gd name="T3" fmla="*/ 19 h 60"/>
                  <a:gd name="T4" fmla="*/ 22 w 30"/>
                  <a:gd name="T5" fmla="*/ 4 h 60"/>
                  <a:gd name="T6" fmla="*/ 24 w 30"/>
                  <a:gd name="T7" fmla="*/ 26 h 60"/>
                  <a:gd name="T8" fmla="*/ 21 w 30"/>
                  <a:gd name="T9" fmla="*/ 37 h 60"/>
                  <a:gd name="T10" fmla="*/ 14 w 30"/>
                  <a:gd name="T11" fmla="*/ 48 h 60"/>
                  <a:gd name="T12" fmla="*/ 8 w 30"/>
                  <a:gd name="T13" fmla="*/ 35 h 60"/>
                  <a:gd name="T14" fmla="*/ 12 w 30"/>
                  <a:gd name="T15" fmla="*/ 25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60">
                    <a:moveTo>
                      <a:pt x="12" y="25"/>
                    </a:moveTo>
                    <a:cubicBezTo>
                      <a:pt x="12" y="25"/>
                      <a:pt x="17" y="24"/>
                      <a:pt x="20" y="19"/>
                    </a:cubicBezTo>
                    <a:cubicBezTo>
                      <a:pt x="24" y="14"/>
                      <a:pt x="22" y="8"/>
                      <a:pt x="22" y="4"/>
                    </a:cubicBezTo>
                    <a:cubicBezTo>
                      <a:pt x="21" y="0"/>
                      <a:pt x="30" y="16"/>
                      <a:pt x="24" y="26"/>
                    </a:cubicBezTo>
                    <a:cubicBezTo>
                      <a:pt x="24" y="26"/>
                      <a:pt x="21" y="34"/>
                      <a:pt x="21" y="37"/>
                    </a:cubicBezTo>
                    <a:cubicBezTo>
                      <a:pt x="21" y="40"/>
                      <a:pt x="20" y="46"/>
                      <a:pt x="14" y="48"/>
                    </a:cubicBezTo>
                    <a:cubicBezTo>
                      <a:pt x="8" y="50"/>
                      <a:pt x="0" y="60"/>
                      <a:pt x="8" y="35"/>
                    </a:cubicBezTo>
                    <a:lnTo>
                      <a:pt x="12" y="25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  <p:sp>
          <p:nvSpPr>
            <p:cNvPr id="680" name="AutoShape 25">
              <a:extLst>
                <a:ext uri="{FF2B5EF4-FFF2-40B4-BE49-F238E27FC236}">
                  <a16:creationId xmlns:a16="http://schemas.microsoft.com/office/drawing/2014/main" id="{8596D345-1A2D-4DD8-A163-8AE722A24D9A}"/>
                </a:ext>
              </a:extLst>
            </p:cNvPr>
            <p:cNvSpPr>
              <a:spLocks noChangeArrowheads="1"/>
            </p:cNvSpPr>
            <p:nvPr/>
          </p:nvSpPr>
          <p:spPr bwMode="gray">
            <a:xfrm rot="186187" flipH="1">
              <a:off x="30110115" y="17206915"/>
              <a:ext cx="720727" cy="1458913"/>
            </a:xfrm>
            <a:custGeom>
              <a:avLst/>
              <a:gdLst>
                <a:gd name="T0" fmla="*/ 794460491 w 792"/>
                <a:gd name="T1" fmla="*/ 729941208 h 2536"/>
                <a:gd name="T2" fmla="*/ 794460491 w 792"/>
                <a:gd name="T3" fmla="*/ 729941208 h 2536"/>
                <a:gd name="T4" fmla="*/ 794460491 w 792"/>
                <a:gd name="T5" fmla="*/ 729941208 h 2536"/>
                <a:gd name="T6" fmla="*/ 794460491 w 792"/>
                <a:gd name="T7" fmla="*/ 729941208 h 2536"/>
                <a:gd name="T8" fmla="*/ 794460491 w 792"/>
                <a:gd name="T9" fmla="*/ 729941208 h 2536"/>
                <a:gd name="T10" fmla="*/ 794460491 w 792"/>
                <a:gd name="T11" fmla="*/ 729941208 h 2536"/>
                <a:gd name="T12" fmla="*/ 794460491 w 792"/>
                <a:gd name="T13" fmla="*/ 729941208 h 2536"/>
                <a:gd name="T14" fmla="*/ 794460491 w 792"/>
                <a:gd name="T15" fmla="*/ 729941208 h 2536"/>
                <a:gd name="T16" fmla="*/ 794460491 w 792"/>
                <a:gd name="T17" fmla="*/ 729941208 h 2536"/>
                <a:gd name="T18" fmla="*/ 794460491 w 792"/>
                <a:gd name="T19" fmla="*/ 729941208 h 2536"/>
                <a:gd name="T20" fmla="*/ 794460491 w 792"/>
                <a:gd name="T21" fmla="*/ 729941208 h 2536"/>
                <a:gd name="T22" fmla="*/ 794460491 w 792"/>
                <a:gd name="T23" fmla="*/ 729941208 h 2536"/>
                <a:gd name="T24" fmla="*/ 794460491 w 792"/>
                <a:gd name="T25" fmla="*/ 729941208 h 2536"/>
                <a:gd name="T26" fmla="*/ 794460491 w 792"/>
                <a:gd name="T27" fmla="*/ 729941208 h 2536"/>
                <a:gd name="T28" fmla="*/ 0 w 792"/>
                <a:gd name="T29" fmla="*/ 729941208 h 2536"/>
                <a:gd name="T30" fmla="*/ 794460491 w 792"/>
                <a:gd name="T31" fmla="*/ 729941208 h 2536"/>
                <a:gd name="T32" fmla="*/ 794460491 w 792"/>
                <a:gd name="T33" fmla="*/ 729941208 h 2536"/>
                <a:gd name="T34" fmla="*/ 794460491 w 792"/>
                <a:gd name="T35" fmla="*/ 729941208 h 2536"/>
                <a:gd name="T36" fmla="*/ 794460491 w 792"/>
                <a:gd name="T37" fmla="*/ 729941208 h 2536"/>
                <a:gd name="T38" fmla="*/ 794460491 w 792"/>
                <a:gd name="T39" fmla="*/ 729941208 h 2536"/>
                <a:gd name="T40" fmla="*/ 794460491 w 792"/>
                <a:gd name="T41" fmla="*/ 729941208 h 2536"/>
                <a:gd name="T42" fmla="*/ 794460491 w 792"/>
                <a:gd name="T43" fmla="*/ 729941208 h 2536"/>
                <a:gd name="T44" fmla="*/ 794460491 w 792"/>
                <a:gd name="T45" fmla="*/ 729941208 h 2536"/>
                <a:gd name="T46" fmla="*/ 794460491 w 792"/>
                <a:gd name="T47" fmla="*/ 729941208 h 2536"/>
                <a:gd name="T48" fmla="*/ 794460491 w 792"/>
                <a:gd name="T49" fmla="*/ 729941208 h 2536"/>
                <a:gd name="T50" fmla="*/ 794460491 w 792"/>
                <a:gd name="T51" fmla="*/ 729941208 h 2536"/>
                <a:gd name="T52" fmla="*/ 794460491 w 792"/>
                <a:gd name="T53" fmla="*/ 729941208 h 2536"/>
                <a:gd name="T54" fmla="*/ 794460491 w 792"/>
                <a:gd name="T55" fmla="*/ 729941208 h 2536"/>
                <a:gd name="T56" fmla="*/ 794460491 w 792"/>
                <a:gd name="T57" fmla="*/ 729941208 h 2536"/>
                <a:gd name="T58" fmla="*/ 794460491 w 792"/>
                <a:gd name="T59" fmla="*/ 729941208 h 2536"/>
                <a:gd name="T60" fmla="*/ 794460491 w 792"/>
                <a:gd name="T61" fmla="*/ 729941208 h 2536"/>
                <a:gd name="T62" fmla="*/ 794460491 w 792"/>
                <a:gd name="T63" fmla="*/ 729941208 h 2536"/>
                <a:gd name="T64" fmla="*/ 794460491 w 792"/>
                <a:gd name="T65" fmla="*/ 729941208 h 2536"/>
                <a:gd name="T66" fmla="*/ 794460491 w 792"/>
                <a:gd name="T67" fmla="*/ 729941208 h 2536"/>
                <a:gd name="T68" fmla="*/ 794460491 w 792"/>
                <a:gd name="T69" fmla="*/ 729941208 h 2536"/>
                <a:gd name="T70" fmla="*/ 794460491 w 792"/>
                <a:gd name="T71" fmla="*/ 729941208 h 2536"/>
                <a:gd name="T72" fmla="*/ 794460491 w 792"/>
                <a:gd name="T73" fmla="*/ 729941208 h 2536"/>
                <a:gd name="T74" fmla="*/ 794460491 w 792"/>
                <a:gd name="T75" fmla="*/ 729941208 h 2536"/>
                <a:gd name="T76" fmla="*/ 794460491 w 792"/>
                <a:gd name="T77" fmla="*/ 729941208 h 2536"/>
                <a:gd name="T78" fmla="*/ 794460491 w 792"/>
                <a:gd name="T79" fmla="*/ 729941208 h 2536"/>
                <a:gd name="T80" fmla="*/ 794460491 w 792"/>
                <a:gd name="T81" fmla="*/ 729941208 h 2536"/>
                <a:gd name="T82" fmla="*/ 794460491 w 792"/>
                <a:gd name="T83" fmla="*/ 729941208 h 2536"/>
                <a:gd name="T84" fmla="*/ 794460491 w 792"/>
                <a:gd name="T85" fmla="*/ 729941208 h 2536"/>
                <a:gd name="T86" fmla="*/ 794460491 w 792"/>
                <a:gd name="T87" fmla="*/ 729941208 h 2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792"/>
                <a:gd name="T133" fmla="*/ 0 h 2536"/>
                <a:gd name="T134" fmla="*/ 792 w 792"/>
                <a:gd name="T135" fmla="*/ 2536 h 2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792" h="2536">
                  <a:moveTo>
                    <a:pt x="752" y="900"/>
                  </a:moveTo>
                  <a:cubicBezTo>
                    <a:pt x="752" y="888"/>
                    <a:pt x="744" y="880"/>
                    <a:pt x="740" y="872"/>
                  </a:cubicBezTo>
                  <a:cubicBezTo>
                    <a:pt x="720" y="760"/>
                    <a:pt x="736" y="656"/>
                    <a:pt x="724" y="548"/>
                  </a:cubicBezTo>
                  <a:cubicBezTo>
                    <a:pt x="724" y="524"/>
                    <a:pt x="724" y="500"/>
                    <a:pt x="716" y="480"/>
                  </a:cubicBezTo>
                  <a:cubicBezTo>
                    <a:pt x="712" y="472"/>
                    <a:pt x="704" y="464"/>
                    <a:pt x="696" y="456"/>
                  </a:cubicBezTo>
                  <a:cubicBezTo>
                    <a:pt x="688" y="452"/>
                    <a:pt x="668" y="452"/>
                    <a:pt x="672" y="444"/>
                  </a:cubicBezTo>
                  <a:cubicBezTo>
                    <a:pt x="688" y="332"/>
                    <a:pt x="664" y="224"/>
                    <a:pt x="656" y="116"/>
                  </a:cubicBezTo>
                  <a:cubicBezTo>
                    <a:pt x="652" y="56"/>
                    <a:pt x="600" y="0"/>
                    <a:pt x="532" y="8"/>
                  </a:cubicBezTo>
                  <a:cubicBezTo>
                    <a:pt x="512" y="12"/>
                    <a:pt x="492" y="16"/>
                    <a:pt x="472" y="32"/>
                  </a:cubicBezTo>
                  <a:cubicBezTo>
                    <a:pt x="440" y="60"/>
                    <a:pt x="416" y="88"/>
                    <a:pt x="400" y="124"/>
                  </a:cubicBezTo>
                  <a:cubicBezTo>
                    <a:pt x="392" y="148"/>
                    <a:pt x="380" y="164"/>
                    <a:pt x="372" y="188"/>
                  </a:cubicBezTo>
                  <a:cubicBezTo>
                    <a:pt x="364" y="212"/>
                    <a:pt x="364" y="232"/>
                    <a:pt x="360" y="256"/>
                  </a:cubicBezTo>
                  <a:cubicBezTo>
                    <a:pt x="356" y="272"/>
                    <a:pt x="364" y="284"/>
                    <a:pt x="364" y="296"/>
                  </a:cubicBezTo>
                  <a:cubicBezTo>
                    <a:pt x="364" y="352"/>
                    <a:pt x="308" y="388"/>
                    <a:pt x="264" y="416"/>
                  </a:cubicBezTo>
                  <a:cubicBezTo>
                    <a:pt x="240" y="432"/>
                    <a:pt x="204" y="428"/>
                    <a:pt x="184" y="452"/>
                  </a:cubicBezTo>
                  <a:cubicBezTo>
                    <a:pt x="144" y="496"/>
                    <a:pt x="160" y="556"/>
                    <a:pt x="144" y="608"/>
                  </a:cubicBezTo>
                  <a:cubicBezTo>
                    <a:pt x="144" y="612"/>
                    <a:pt x="156" y="616"/>
                    <a:pt x="152" y="628"/>
                  </a:cubicBezTo>
                  <a:cubicBezTo>
                    <a:pt x="148" y="696"/>
                    <a:pt x="156" y="764"/>
                    <a:pt x="140" y="832"/>
                  </a:cubicBezTo>
                  <a:cubicBezTo>
                    <a:pt x="128" y="876"/>
                    <a:pt x="120" y="916"/>
                    <a:pt x="116" y="960"/>
                  </a:cubicBezTo>
                  <a:cubicBezTo>
                    <a:pt x="112" y="1024"/>
                    <a:pt x="116" y="1088"/>
                    <a:pt x="116" y="1152"/>
                  </a:cubicBezTo>
                  <a:cubicBezTo>
                    <a:pt x="116" y="1212"/>
                    <a:pt x="108" y="1272"/>
                    <a:pt x="96" y="1336"/>
                  </a:cubicBezTo>
                  <a:cubicBezTo>
                    <a:pt x="92" y="1360"/>
                    <a:pt x="104" y="1384"/>
                    <a:pt x="120" y="1404"/>
                  </a:cubicBezTo>
                  <a:cubicBezTo>
                    <a:pt x="136" y="1424"/>
                    <a:pt x="164" y="1432"/>
                    <a:pt x="188" y="1436"/>
                  </a:cubicBezTo>
                  <a:cubicBezTo>
                    <a:pt x="192" y="1436"/>
                    <a:pt x="196" y="1440"/>
                    <a:pt x="196" y="1444"/>
                  </a:cubicBezTo>
                  <a:cubicBezTo>
                    <a:pt x="192" y="1540"/>
                    <a:pt x="192" y="1636"/>
                    <a:pt x="180" y="1736"/>
                  </a:cubicBezTo>
                  <a:cubicBezTo>
                    <a:pt x="180" y="1744"/>
                    <a:pt x="188" y="1748"/>
                    <a:pt x="188" y="1752"/>
                  </a:cubicBezTo>
                  <a:cubicBezTo>
                    <a:pt x="188" y="1820"/>
                    <a:pt x="152" y="1884"/>
                    <a:pt x="148" y="1956"/>
                  </a:cubicBezTo>
                  <a:cubicBezTo>
                    <a:pt x="144" y="2056"/>
                    <a:pt x="156" y="2152"/>
                    <a:pt x="148" y="2252"/>
                  </a:cubicBezTo>
                  <a:cubicBezTo>
                    <a:pt x="148" y="2316"/>
                    <a:pt x="120" y="2376"/>
                    <a:pt x="88" y="2432"/>
                  </a:cubicBezTo>
                  <a:cubicBezTo>
                    <a:pt x="64" y="2468"/>
                    <a:pt x="24" y="2484"/>
                    <a:pt x="0" y="2516"/>
                  </a:cubicBezTo>
                  <a:cubicBezTo>
                    <a:pt x="52" y="2512"/>
                    <a:pt x="104" y="2516"/>
                    <a:pt x="152" y="2492"/>
                  </a:cubicBezTo>
                  <a:cubicBezTo>
                    <a:pt x="148" y="2460"/>
                    <a:pt x="180" y="2424"/>
                    <a:pt x="208" y="2424"/>
                  </a:cubicBezTo>
                  <a:cubicBezTo>
                    <a:pt x="224" y="2428"/>
                    <a:pt x="204" y="2460"/>
                    <a:pt x="220" y="2476"/>
                  </a:cubicBezTo>
                  <a:cubicBezTo>
                    <a:pt x="220" y="2448"/>
                    <a:pt x="224" y="2420"/>
                    <a:pt x="244" y="2396"/>
                  </a:cubicBezTo>
                  <a:cubicBezTo>
                    <a:pt x="268" y="2372"/>
                    <a:pt x="248" y="2336"/>
                    <a:pt x="224" y="2312"/>
                  </a:cubicBezTo>
                  <a:cubicBezTo>
                    <a:pt x="224" y="2308"/>
                    <a:pt x="221" y="2300"/>
                    <a:pt x="220" y="2292"/>
                  </a:cubicBezTo>
                  <a:cubicBezTo>
                    <a:pt x="216" y="2244"/>
                    <a:pt x="224" y="2196"/>
                    <a:pt x="236" y="2144"/>
                  </a:cubicBezTo>
                  <a:cubicBezTo>
                    <a:pt x="244" y="2084"/>
                    <a:pt x="264" y="2032"/>
                    <a:pt x="280" y="1972"/>
                  </a:cubicBezTo>
                  <a:cubicBezTo>
                    <a:pt x="296" y="1916"/>
                    <a:pt x="284" y="1856"/>
                    <a:pt x="304" y="1800"/>
                  </a:cubicBezTo>
                  <a:cubicBezTo>
                    <a:pt x="308" y="1784"/>
                    <a:pt x="312" y="1760"/>
                    <a:pt x="328" y="1752"/>
                  </a:cubicBezTo>
                  <a:cubicBezTo>
                    <a:pt x="352" y="1740"/>
                    <a:pt x="380" y="1740"/>
                    <a:pt x="404" y="1744"/>
                  </a:cubicBezTo>
                  <a:cubicBezTo>
                    <a:pt x="432" y="1744"/>
                    <a:pt x="460" y="1748"/>
                    <a:pt x="488" y="1752"/>
                  </a:cubicBezTo>
                  <a:cubicBezTo>
                    <a:pt x="500" y="1756"/>
                    <a:pt x="504" y="1768"/>
                    <a:pt x="508" y="1780"/>
                  </a:cubicBezTo>
                  <a:cubicBezTo>
                    <a:pt x="512" y="1840"/>
                    <a:pt x="496" y="1896"/>
                    <a:pt x="488" y="1956"/>
                  </a:cubicBezTo>
                  <a:cubicBezTo>
                    <a:pt x="484" y="2024"/>
                    <a:pt x="496" y="2092"/>
                    <a:pt x="480" y="2164"/>
                  </a:cubicBezTo>
                  <a:cubicBezTo>
                    <a:pt x="476" y="2192"/>
                    <a:pt x="476" y="2220"/>
                    <a:pt x="468" y="2248"/>
                  </a:cubicBezTo>
                  <a:cubicBezTo>
                    <a:pt x="460" y="2272"/>
                    <a:pt x="448" y="2292"/>
                    <a:pt x="444" y="2320"/>
                  </a:cubicBezTo>
                  <a:cubicBezTo>
                    <a:pt x="440" y="2328"/>
                    <a:pt x="428" y="2328"/>
                    <a:pt x="428" y="2340"/>
                  </a:cubicBezTo>
                  <a:cubicBezTo>
                    <a:pt x="424" y="2352"/>
                    <a:pt x="420" y="2364"/>
                    <a:pt x="420" y="2376"/>
                  </a:cubicBezTo>
                  <a:cubicBezTo>
                    <a:pt x="424" y="2392"/>
                    <a:pt x="440" y="2404"/>
                    <a:pt x="444" y="2416"/>
                  </a:cubicBezTo>
                  <a:cubicBezTo>
                    <a:pt x="452" y="2432"/>
                    <a:pt x="452" y="2452"/>
                    <a:pt x="448" y="2468"/>
                  </a:cubicBezTo>
                  <a:cubicBezTo>
                    <a:pt x="444" y="2476"/>
                    <a:pt x="436" y="2488"/>
                    <a:pt x="444" y="2496"/>
                  </a:cubicBezTo>
                  <a:cubicBezTo>
                    <a:pt x="480" y="2524"/>
                    <a:pt x="564" y="2536"/>
                    <a:pt x="552" y="2472"/>
                  </a:cubicBezTo>
                  <a:cubicBezTo>
                    <a:pt x="540" y="2432"/>
                    <a:pt x="512" y="2392"/>
                    <a:pt x="516" y="2348"/>
                  </a:cubicBezTo>
                  <a:cubicBezTo>
                    <a:pt x="516" y="2312"/>
                    <a:pt x="520" y="2276"/>
                    <a:pt x="532" y="2240"/>
                  </a:cubicBezTo>
                  <a:cubicBezTo>
                    <a:pt x="596" y="2088"/>
                    <a:pt x="640" y="1932"/>
                    <a:pt x="624" y="1768"/>
                  </a:cubicBezTo>
                  <a:cubicBezTo>
                    <a:pt x="652" y="1744"/>
                    <a:pt x="696" y="1748"/>
                    <a:pt x="732" y="1748"/>
                  </a:cubicBezTo>
                  <a:cubicBezTo>
                    <a:pt x="736" y="1640"/>
                    <a:pt x="708" y="1536"/>
                    <a:pt x="724" y="1428"/>
                  </a:cubicBezTo>
                  <a:cubicBezTo>
                    <a:pt x="728" y="1408"/>
                    <a:pt x="756" y="1416"/>
                    <a:pt x="768" y="1404"/>
                  </a:cubicBezTo>
                  <a:cubicBezTo>
                    <a:pt x="784" y="1392"/>
                    <a:pt x="792" y="1368"/>
                    <a:pt x="792" y="1356"/>
                  </a:cubicBezTo>
                  <a:cubicBezTo>
                    <a:pt x="740" y="1204"/>
                    <a:pt x="784" y="1060"/>
                    <a:pt x="752" y="900"/>
                  </a:cubicBezTo>
                  <a:close/>
                  <a:moveTo>
                    <a:pt x="208" y="1272"/>
                  </a:moveTo>
                  <a:cubicBezTo>
                    <a:pt x="200" y="1316"/>
                    <a:pt x="200" y="1364"/>
                    <a:pt x="200" y="1408"/>
                  </a:cubicBezTo>
                  <a:cubicBezTo>
                    <a:pt x="200" y="1416"/>
                    <a:pt x="204" y="1432"/>
                    <a:pt x="192" y="1428"/>
                  </a:cubicBezTo>
                  <a:cubicBezTo>
                    <a:pt x="176" y="1428"/>
                    <a:pt x="172" y="1420"/>
                    <a:pt x="160" y="1408"/>
                  </a:cubicBezTo>
                  <a:cubicBezTo>
                    <a:pt x="160" y="1404"/>
                    <a:pt x="160" y="1400"/>
                    <a:pt x="160" y="1396"/>
                  </a:cubicBezTo>
                  <a:cubicBezTo>
                    <a:pt x="148" y="1400"/>
                    <a:pt x="140" y="1388"/>
                    <a:pt x="136" y="1376"/>
                  </a:cubicBezTo>
                  <a:cubicBezTo>
                    <a:pt x="128" y="1356"/>
                    <a:pt x="132" y="1324"/>
                    <a:pt x="148" y="1324"/>
                  </a:cubicBezTo>
                  <a:cubicBezTo>
                    <a:pt x="172" y="1320"/>
                    <a:pt x="164" y="1364"/>
                    <a:pt x="172" y="1384"/>
                  </a:cubicBezTo>
                  <a:cubicBezTo>
                    <a:pt x="176" y="1388"/>
                    <a:pt x="180" y="1388"/>
                    <a:pt x="184" y="1388"/>
                  </a:cubicBezTo>
                  <a:cubicBezTo>
                    <a:pt x="180" y="1352"/>
                    <a:pt x="184" y="1312"/>
                    <a:pt x="176" y="1276"/>
                  </a:cubicBezTo>
                  <a:cubicBezTo>
                    <a:pt x="172" y="1252"/>
                    <a:pt x="152" y="1236"/>
                    <a:pt x="156" y="1208"/>
                  </a:cubicBezTo>
                  <a:cubicBezTo>
                    <a:pt x="180" y="1060"/>
                    <a:pt x="224" y="928"/>
                    <a:pt x="232" y="780"/>
                  </a:cubicBezTo>
                  <a:cubicBezTo>
                    <a:pt x="232" y="756"/>
                    <a:pt x="224" y="724"/>
                    <a:pt x="248" y="712"/>
                  </a:cubicBezTo>
                  <a:cubicBezTo>
                    <a:pt x="264" y="704"/>
                    <a:pt x="257" y="732"/>
                    <a:pt x="260" y="744"/>
                  </a:cubicBezTo>
                  <a:cubicBezTo>
                    <a:pt x="304" y="928"/>
                    <a:pt x="224" y="1092"/>
                    <a:pt x="208" y="1272"/>
                  </a:cubicBezTo>
                  <a:close/>
                  <a:moveTo>
                    <a:pt x="656" y="876"/>
                  </a:moveTo>
                  <a:cubicBezTo>
                    <a:pt x="656" y="888"/>
                    <a:pt x="641" y="882"/>
                    <a:pt x="632" y="876"/>
                  </a:cubicBezTo>
                  <a:cubicBezTo>
                    <a:pt x="620" y="868"/>
                    <a:pt x="620" y="852"/>
                    <a:pt x="624" y="844"/>
                  </a:cubicBezTo>
                  <a:cubicBezTo>
                    <a:pt x="632" y="824"/>
                    <a:pt x="624" y="800"/>
                    <a:pt x="616" y="780"/>
                  </a:cubicBezTo>
                  <a:cubicBezTo>
                    <a:pt x="608" y="764"/>
                    <a:pt x="608" y="744"/>
                    <a:pt x="624" y="728"/>
                  </a:cubicBezTo>
                  <a:cubicBezTo>
                    <a:pt x="628" y="728"/>
                    <a:pt x="632" y="728"/>
                    <a:pt x="636" y="728"/>
                  </a:cubicBezTo>
                  <a:cubicBezTo>
                    <a:pt x="664" y="776"/>
                    <a:pt x="660" y="828"/>
                    <a:pt x="656" y="876"/>
                  </a:cubicBezTo>
                  <a:close/>
                  <a:moveTo>
                    <a:pt x="728" y="1400"/>
                  </a:moveTo>
                  <a:cubicBezTo>
                    <a:pt x="724" y="1400"/>
                    <a:pt x="716" y="1392"/>
                    <a:pt x="720" y="1384"/>
                  </a:cubicBezTo>
                  <a:cubicBezTo>
                    <a:pt x="728" y="1364"/>
                    <a:pt x="716" y="1332"/>
                    <a:pt x="748" y="1332"/>
                  </a:cubicBezTo>
                  <a:cubicBezTo>
                    <a:pt x="752" y="1332"/>
                    <a:pt x="752" y="1341"/>
                    <a:pt x="756" y="1348"/>
                  </a:cubicBezTo>
                  <a:cubicBezTo>
                    <a:pt x="768" y="1372"/>
                    <a:pt x="756" y="1400"/>
                    <a:pt x="728" y="1400"/>
                  </a:cubicBezTo>
                  <a:close/>
                </a:path>
              </a:pathLst>
            </a:custGeom>
            <a:solidFill>
              <a:schemeClr val="tx1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  <p:txBody>
            <a:bodyPr/>
            <a:lstStyle/>
            <a:p>
              <a:pPr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4000" kern="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83" name="AutoShape 22">
              <a:extLst>
                <a:ext uri="{FF2B5EF4-FFF2-40B4-BE49-F238E27FC236}">
                  <a16:creationId xmlns:a16="http://schemas.microsoft.com/office/drawing/2014/main" id="{22036351-47CB-417D-B568-9896DD3BE107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0586364" y="17133888"/>
              <a:ext cx="636587" cy="1516063"/>
            </a:xfrm>
            <a:custGeom>
              <a:avLst/>
              <a:gdLst>
                <a:gd name="T0" fmla="*/ 808464432 w 680"/>
                <a:gd name="T1" fmla="*/ 813928491 h 2335"/>
                <a:gd name="T2" fmla="*/ 808464432 w 680"/>
                <a:gd name="T3" fmla="*/ 813928491 h 2335"/>
                <a:gd name="T4" fmla="*/ 808464432 w 680"/>
                <a:gd name="T5" fmla="*/ 813928491 h 2335"/>
                <a:gd name="T6" fmla="*/ 808464432 w 680"/>
                <a:gd name="T7" fmla="*/ 813928491 h 2335"/>
                <a:gd name="T8" fmla="*/ 808464432 w 680"/>
                <a:gd name="T9" fmla="*/ 813928491 h 2335"/>
                <a:gd name="T10" fmla="*/ 808464432 w 680"/>
                <a:gd name="T11" fmla="*/ 813928491 h 2335"/>
                <a:gd name="T12" fmla="*/ 808464432 w 680"/>
                <a:gd name="T13" fmla="*/ 813928491 h 2335"/>
                <a:gd name="T14" fmla="*/ 808464432 w 680"/>
                <a:gd name="T15" fmla="*/ 813928491 h 2335"/>
                <a:gd name="T16" fmla="*/ 808464432 w 680"/>
                <a:gd name="T17" fmla="*/ 813928491 h 2335"/>
                <a:gd name="T18" fmla="*/ 808464432 w 680"/>
                <a:gd name="T19" fmla="*/ 813928491 h 2335"/>
                <a:gd name="T20" fmla="*/ 808464432 w 680"/>
                <a:gd name="T21" fmla="*/ 813928491 h 2335"/>
                <a:gd name="T22" fmla="*/ 808464432 w 680"/>
                <a:gd name="T23" fmla="*/ 813928491 h 2335"/>
                <a:gd name="T24" fmla="*/ 808464432 w 680"/>
                <a:gd name="T25" fmla="*/ 813928491 h 2335"/>
                <a:gd name="T26" fmla="*/ 808464432 w 680"/>
                <a:gd name="T27" fmla="*/ 813928491 h 2335"/>
                <a:gd name="T28" fmla="*/ 808464432 w 680"/>
                <a:gd name="T29" fmla="*/ 813928491 h 2335"/>
                <a:gd name="T30" fmla="*/ 808464432 w 680"/>
                <a:gd name="T31" fmla="*/ 813928491 h 2335"/>
                <a:gd name="T32" fmla="*/ 808464432 w 680"/>
                <a:gd name="T33" fmla="*/ 813928491 h 2335"/>
                <a:gd name="T34" fmla="*/ 808464432 w 680"/>
                <a:gd name="T35" fmla="*/ 813928491 h 2335"/>
                <a:gd name="T36" fmla="*/ 808464432 w 680"/>
                <a:gd name="T37" fmla="*/ 813928491 h 2335"/>
                <a:gd name="T38" fmla="*/ 808464432 w 680"/>
                <a:gd name="T39" fmla="*/ 813928491 h 2335"/>
                <a:gd name="T40" fmla="*/ 808464432 w 680"/>
                <a:gd name="T41" fmla="*/ 813928491 h 2335"/>
                <a:gd name="T42" fmla="*/ 808464432 w 680"/>
                <a:gd name="T43" fmla="*/ 813928491 h 2335"/>
                <a:gd name="T44" fmla="*/ 808464432 w 680"/>
                <a:gd name="T45" fmla="*/ 813928491 h 2335"/>
                <a:gd name="T46" fmla="*/ 808464432 w 680"/>
                <a:gd name="T47" fmla="*/ 813928491 h 2335"/>
                <a:gd name="T48" fmla="*/ 808464432 w 680"/>
                <a:gd name="T49" fmla="*/ 813928491 h 2335"/>
                <a:gd name="T50" fmla="*/ 808464432 w 680"/>
                <a:gd name="T51" fmla="*/ 813928491 h 2335"/>
                <a:gd name="T52" fmla="*/ 808464432 w 680"/>
                <a:gd name="T53" fmla="*/ 813928491 h 2335"/>
                <a:gd name="T54" fmla="*/ 808464432 w 680"/>
                <a:gd name="T55" fmla="*/ 813928491 h 2335"/>
                <a:gd name="T56" fmla="*/ 808464432 w 680"/>
                <a:gd name="T57" fmla="*/ 813928491 h 2335"/>
                <a:gd name="T58" fmla="*/ 808464432 w 680"/>
                <a:gd name="T59" fmla="*/ 813928491 h 2335"/>
                <a:gd name="T60" fmla="*/ 808464432 w 680"/>
                <a:gd name="T61" fmla="*/ 813928491 h 2335"/>
                <a:gd name="T62" fmla="*/ 808464432 w 680"/>
                <a:gd name="T63" fmla="*/ 813928491 h 2335"/>
                <a:gd name="T64" fmla="*/ 808464432 w 680"/>
                <a:gd name="T65" fmla="*/ 813928491 h 2335"/>
                <a:gd name="T66" fmla="*/ 808464432 w 680"/>
                <a:gd name="T67" fmla="*/ 813928491 h 2335"/>
                <a:gd name="T68" fmla="*/ 808464432 w 680"/>
                <a:gd name="T69" fmla="*/ 813928491 h 2335"/>
                <a:gd name="T70" fmla="*/ 808464432 w 680"/>
                <a:gd name="T71" fmla="*/ 813928491 h 2335"/>
                <a:gd name="T72" fmla="*/ 808464432 w 680"/>
                <a:gd name="T73" fmla="*/ 813928491 h 2335"/>
                <a:gd name="T74" fmla="*/ 808464432 w 680"/>
                <a:gd name="T75" fmla="*/ 813928491 h 2335"/>
                <a:gd name="T76" fmla="*/ 808464432 w 680"/>
                <a:gd name="T77" fmla="*/ 813928491 h 2335"/>
                <a:gd name="T78" fmla="*/ 808464432 w 680"/>
                <a:gd name="T79" fmla="*/ 813928491 h 2335"/>
                <a:gd name="T80" fmla="*/ 808464432 w 680"/>
                <a:gd name="T81" fmla="*/ 813928491 h 2335"/>
                <a:gd name="T82" fmla="*/ 808464432 w 680"/>
                <a:gd name="T83" fmla="*/ 813928491 h 2335"/>
                <a:gd name="T84" fmla="*/ 808464432 w 680"/>
                <a:gd name="T85" fmla="*/ 813928491 h 2335"/>
                <a:gd name="T86" fmla="*/ 808464432 w 680"/>
                <a:gd name="T87" fmla="*/ 813928491 h 2335"/>
                <a:gd name="T88" fmla="*/ 808464432 w 680"/>
                <a:gd name="T89" fmla="*/ 813928491 h 2335"/>
                <a:gd name="T90" fmla="*/ 808464432 w 680"/>
                <a:gd name="T91" fmla="*/ 813928491 h 2335"/>
                <a:gd name="T92" fmla="*/ 808464432 w 680"/>
                <a:gd name="T93" fmla="*/ 813928491 h 2335"/>
                <a:gd name="T94" fmla="*/ 808464432 w 680"/>
                <a:gd name="T95" fmla="*/ 813928491 h 2335"/>
                <a:gd name="T96" fmla="*/ 808464432 w 680"/>
                <a:gd name="T97" fmla="*/ 813928491 h 2335"/>
                <a:gd name="T98" fmla="*/ 808464432 w 680"/>
                <a:gd name="T99" fmla="*/ 813928491 h 2335"/>
                <a:gd name="T100" fmla="*/ 808464432 w 680"/>
                <a:gd name="T101" fmla="*/ 813928491 h 2335"/>
                <a:gd name="T102" fmla="*/ 808464432 w 680"/>
                <a:gd name="T103" fmla="*/ 813928491 h 2335"/>
                <a:gd name="T104" fmla="*/ 808464432 w 680"/>
                <a:gd name="T105" fmla="*/ 813928491 h 2335"/>
                <a:gd name="T106" fmla="*/ 808464432 w 680"/>
                <a:gd name="T107" fmla="*/ 813928491 h 2335"/>
                <a:gd name="T108" fmla="*/ 808464432 w 680"/>
                <a:gd name="T109" fmla="*/ 813928491 h 2335"/>
                <a:gd name="T110" fmla="*/ 808464432 w 680"/>
                <a:gd name="T111" fmla="*/ 813928491 h 2335"/>
                <a:gd name="T112" fmla="*/ 808464432 w 680"/>
                <a:gd name="T113" fmla="*/ 813928491 h 2335"/>
                <a:gd name="T114" fmla="*/ 808464432 w 680"/>
                <a:gd name="T115" fmla="*/ 813928491 h 2335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80"/>
                <a:gd name="T175" fmla="*/ 0 h 2335"/>
                <a:gd name="T176" fmla="*/ 680 w 680"/>
                <a:gd name="T177" fmla="*/ 2335 h 2335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80" h="2335">
                  <a:moveTo>
                    <a:pt x="676" y="998"/>
                  </a:moveTo>
                  <a:cubicBezTo>
                    <a:pt x="670" y="976"/>
                    <a:pt x="677" y="952"/>
                    <a:pt x="674" y="929"/>
                  </a:cubicBezTo>
                  <a:cubicBezTo>
                    <a:pt x="673" y="919"/>
                    <a:pt x="670" y="909"/>
                    <a:pt x="668" y="898"/>
                  </a:cubicBezTo>
                  <a:cubicBezTo>
                    <a:pt x="666" y="885"/>
                    <a:pt x="667" y="872"/>
                    <a:pt x="667" y="859"/>
                  </a:cubicBezTo>
                  <a:cubicBezTo>
                    <a:pt x="666" y="834"/>
                    <a:pt x="662" y="810"/>
                    <a:pt x="662" y="785"/>
                  </a:cubicBezTo>
                  <a:cubicBezTo>
                    <a:pt x="663" y="759"/>
                    <a:pt x="664" y="732"/>
                    <a:pt x="662" y="706"/>
                  </a:cubicBezTo>
                  <a:cubicBezTo>
                    <a:pt x="657" y="647"/>
                    <a:pt x="645" y="590"/>
                    <a:pt x="632" y="533"/>
                  </a:cubicBezTo>
                  <a:cubicBezTo>
                    <a:pt x="628" y="513"/>
                    <a:pt x="623" y="492"/>
                    <a:pt x="618" y="472"/>
                  </a:cubicBezTo>
                  <a:cubicBezTo>
                    <a:pt x="613" y="453"/>
                    <a:pt x="607" y="436"/>
                    <a:pt x="592" y="423"/>
                  </a:cubicBezTo>
                  <a:cubicBezTo>
                    <a:pt x="572" y="405"/>
                    <a:pt x="547" y="403"/>
                    <a:pt x="524" y="392"/>
                  </a:cubicBezTo>
                  <a:cubicBezTo>
                    <a:pt x="506" y="384"/>
                    <a:pt x="489" y="373"/>
                    <a:pt x="471" y="364"/>
                  </a:cubicBezTo>
                  <a:cubicBezTo>
                    <a:pt x="463" y="361"/>
                    <a:pt x="455" y="357"/>
                    <a:pt x="449" y="351"/>
                  </a:cubicBezTo>
                  <a:cubicBezTo>
                    <a:pt x="443" y="344"/>
                    <a:pt x="438" y="342"/>
                    <a:pt x="430" y="339"/>
                  </a:cubicBezTo>
                  <a:cubicBezTo>
                    <a:pt x="420" y="336"/>
                    <a:pt x="415" y="332"/>
                    <a:pt x="415" y="323"/>
                  </a:cubicBezTo>
                  <a:cubicBezTo>
                    <a:pt x="415" y="314"/>
                    <a:pt x="415" y="304"/>
                    <a:pt x="414" y="294"/>
                  </a:cubicBezTo>
                  <a:cubicBezTo>
                    <a:pt x="413" y="285"/>
                    <a:pt x="412" y="279"/>
                    <a:pt x="419" y="272"/>
                  </a:cubicBezTo>
                  <a:cubicBezTo>
                    <a:pt x="426" y="263"/>
                    <a:pt x="428" y="252"/>
                    <a:pt x="429" y="241"/>
                  </a:cubicBezTo>
                  <a:cubicBezTo>
                    <a:pt x="430" y="234"/>
                    <a:pt x="431" y="227"/>
                    <a:pt x="431" y="220"/>
                  </a:cubicBezTo>
                  <a:cubicBezTo>
                    <a:pt x="431" y="214"/>
                    <a:pt x="431" y="215"/>
                    <a:pt x="436" y="216"/>
                  </a:cubicBezTo>
                  <a:cubicBezTo>
                    <a:pt x="450" y="219"/>
                    <a:pt x="451" y="211"/>
                    <a:pt x="456" y="200"/>
                  </a:cubicBezTo>
                  <a:cubicBezTo>
                    <a:pt x="461" y="190"/>
                    <a:pt x="474" y="134"/>
                    <a:pt x="449" y="140"/>
                  </a:cubicBezTo>
                  <a:cubicBezTo>
                    <a:pt x="446" y="141"/>
                    <a:pt x="449" y="130"/>
                    <a:pt x="449" y="128"/>
                  </a:cubicBezTo>
                  <a:cubicBezTo>
                    <a:pt x="450" y="121"/>
                    <a:pt x="453" y="114"/>
                    <a:pt x="451" y="106"/>
                  </a:cubicBezTo>
                  <a:cubicBezTo>
                    <a:pt x="448" y="95"/>
                    <a:pt x="452" y="86"/>
                    <a:pt x="450" y="76"/>
                  </a:cubicBezTo>
                  <a:cubicBezTo>
                    <a:pt x="449" y="66"/>
                    <a:pt x="442" y="57"/>
                    <a:pt x="438" y="48"/>
                  </a:cubicBezTo>
                  <a:cubicBezTo>
                    <a:pt x="435" y="43"/>
                    <a:pt x="435" y="38"/>
                    <a:pt x="429" y="35"/>
                  </a:cubicBezTo>
                  <a:cubicBezTo>
                    <a:pt x="423" y="32"/>
                    <a:pt x="421" y="28"/>
                    <a:pt x="416" y="24"/>
                  </a:cubicBezTo>
                  <a:cubicBezTo>
                    <a:pt x="408" y="17"/>
                    <a:pt x="397" y="5"/>
                    <a:pt x="386" y="7"/>
                  </a:cubicBezTo>
                  <a:cubicBezTo>
                    <a:pt x="381" y="9"/>
                    <a:pt x="376" y="5"/>
                    <a:pt x="371" y="3"/>
                  </a:cubicBezTo>
                  <a:cubicBezTo>
                    <a:pt x="369" y="3"/>
                    <a:pt x="366" y="3"/>
                    <a:pt x="364" y="3"/>
                  </a:cubicBezTo>
                  <a:cubicBezTo>
                    <a:pt x="360" y="3"/>
                    <a:pt x="356" y="0"/>
                    <a:pt x="352" y="0"/>
                  </a:cubicBezTo>
                  <a:cubicBezTo>
                    <a:pt x="346" y="0"/>
                    <a:pt x="338" y="1"/>
                    <a:pt x="332" y="1"/>
                  </a:cubicBezTo>
                  <a:cubicBezTo>
                    <a:pt x="330" y="2"/>
                    <a:pt x="328" y="4"/>
                    <a:pt x="325" y="4"/>
                  </a:cubicBezTo>
                  <a:cubicBezTo>
                    <a:pt x="322" y="5"/>
                    <a:pt x="320" y="3"/>
                    <a:pt x="316" y="3"/>
                  </a:cubicBezTo>
                  <a:cubicBezTo>
                    <a:pt x="311" y="3"/>
                    <a:pt x="307" y="9"/>
                    <a:pt x="301" y="10"/>
                  </a:cubicBezTo>
                  <a:cubicBezTo>
                    <a:pt x="299" y="11"/>
                    <a:pt x="297" y="13"/>
                    <a:pt x="295" y="14"/>
                  </a:cubicBezTo>
                  <a:cubicBezTo>
                    <a:pt x="292" y="15"/>
                    <a:pt x="288" y="16"/>
                    <a:pt x="285" y="17"/>
                  </a:cubicBezTo>
                  <a:cubicBezTo>
                    <a:pt x="280" y="20"/>
                    <a:pt x="276" y="22"/>
                    <a:pt x="272" y="25"/>
                  </a:cubicBezTo>
                  <a:cubicBezTo>
                    <a:pt x="269" y="27"/>
                    <a:pt x="268" y="30"/>
                    <a:pt x="266" y="32"/>
                  </a:cubicBezTo>
                  <a:cubicBezTo>
                    <a:pt x="262" y="35"/>
                    <a:pt x="257" y="39"/>
                    <a:pt x="254" y="44"/>
                  </a:cubicBezTo>
                  <a:cubicBezTo>
                    <a:pt x="253" y="47"/>
                    <a:pt x="253" y="50"/>
                    <a:pt x="251" y="53"/>
                  </a:cubicBezTo>
                  <a:cubicBezTo>
                    <a:pt x="250" y="56"/>
                    <a:pt x="247" y="57"/>
                    <a:pt x="245" y="61"/>
                  </a:cubicBezTo>
                  <a:cubicBezTo>
                    <a:pt x="242" y="69"/>
                    <a:pt x="237" y="87"/>
                    <a:pt x="241" y="95"/>
                  </a:cubicBezTo>
                  <a:cubicBezTo>
                    <a:pt x="245" y="104"/>
                    <a:pt x="240" y="115"/>
                    <a:pt x="244" y="124"/>
                  </a:cubicBezTo>
                  <a:cubicBezTo>
                    <a:pt x="245" y="129"/>
                    <a:pt x="239" y="126"/>
                    <a:pt x="236" y="127"/>
                  </a:cubicBezTo>
                  <a:cubicBezTo>
                    <a:pt x="231" y="130"/>
                    <a:pt x="231" y="138"/>
                    <a:pt x="230" y="142"/>
                  </a:cubicBezTo>
                  <a:cubicBezTo>
                    <a:pt x="228" y="155"/>
                    <a:pt x="226" y="170"/>
                    <a:pt x="229" y="183"/>
                  </a:cubicBezTo>
                  <a:cubicBezTo>
                    <a:pt x="233" y="194"/>
                    <a:pt x="238" y="203"/>
                    <a:pt x="250" y="204"/>
                  </a:cubicBezTo>
                  <a:cubicBezTo>
                    <a:pt x="254" y="204"/>
                    <a:pt x="256" y="203"/>
                    <a:pt x="257" y="207"/>
                  </a:cubicBezTo>
                  <a:cubicBezTo>
                    <a:pt x="258" y="212"/>
                    <a:pt x="257" y="219"/>
                    <a:pt x="257" y="224"/>
                  </a:cubicBezTo>
                  <a:cubicBezTo>
                    <a:pt x="257" y="235"/>
                    <a:pt x="258" y="245"/>
                    <a:pt x="263" y="254"/>
                  </a:cubicBezTo>
                  <a:cubicBezTo>
                    <a:pt x="266" y="259"/>
                    <a:pt x="269" y="263"/>
                    <a:pt x="269" y="269"/>
                  </a:cubicBezTo>
                  <a:cubicBezTo>
                    <a:pt x="268" y="274"/>
                    <a:pt x="268" y="278"/>
                    <a:pt x="268" y="283"/>
                  </a:cubicBezTo>
                  <a:cubicBezTo>
                    <a:pt x="268" y="293"/>
                    <a:pt x="268" y="304"/>
                    <a:pt x="268" y="314"/>
                  </a:cubicBezTo>
                  <a:cubicBezTo>
                    <a:pt x="268" y="323"/>
                    <a:pt x="270" y="334"/>
                    <a:pt x="261" y="340"/>
                  </a:cubicBezTo>
                  <a:cubicBezTo>
                    <a:pt x="257" y="343"/>
                    <a:pt x="252" y="346"/>
                    <a:pt x="246" y="348"/>
                  </a:cubicBezTo>
                  <a:cubicBezTo>
                    <a:pt x="242" y="350"/>
                    <a:pt x="238" y="350"/>
                    <a:pt x="234" y="352"/>
                  </a:cubicBezTo>
                  <a:cubicBezTo>
                    <a:pt x="223" y="359"/>
                    <a:pt x="216" y="369"/>
                    <a:pt x="204" y="374"/>
                  </a:cubicBezTo>
                  <a:cubicBezTo>
                    <a:pt x="188" y="382"/>
                    <a:pt x="173" y="392"/>
                    <a:pt x="157" y="400"/>
                  </a:cubicBezTo>
                  <a:cubicBezTo>
                    <a:pt x="138" y="412"/>
                    <a:pt x="115" y="413"/>
                    <a:pt x="96" y="426"/>
                  </a:cubicBezTo>
                  <a:cubicBezTo>
                    <a:pt x="76" y="439"/>
                    <a:pt x="66" y="460"/>
                    <a:pt x="61" y="482"/>
                  </a:cubicBezTo>
                  <a:cubicBezTo>
                    <a:pt x="57" y="497"/>
                    <a:pt x="53" y="511"/>
                    <a:pt x="50" y="526"/>
                  </a:cubicBezTo>
                  <a:cubicBezTo>
                    <a:pt x="44" y="565"/>
                    <a:pt x="38" y="605"/>
                    <a:pt x="33" y="644"/>
                  </a:cubicBezTo>
                  <a:cubicBezTo>
                    <a:pt x="28" y="681"/>
                    <a:pt x="25" y="719"/>
                    <a:pt x="21" y="757"/>
                  </a:cubicBezTo>
                  <a:cubicBezTo>
                    <a:pt x="19" y="777"/>
                    <a:pt x="18" y="797"/>
                    <a:pt x="16" y="817"/>
                  </a:cubicBezTo>
                  <a:cubicBezTo>
                    <a:pt x="14" y="842"/>
                    <a:pt x="9" y="868"/>
                    <a:pt x="7" y="893"/>
                  </a:cubicBezTo>
                  <a:cubicBezTo>
                    <a:pt x="4" y="916"/>
                    <a:pt x="6" y="939"/>
                    <a:pt x="5" y="962"/>
                  </a:cubicBezTo>
                  <a:cubicBezTo>
                    <a:pt x="5" y="972"/>
                    <a:pt x="4" y="982"/>
                    <a:pt x="4" y="992"/>
                  </a:cubicBezTo>
                  <a:cubicBezTo>
                    <a:pt x="4" y="997"/>
                    <a:pt x="5" y="1002"/>
                    <a:pt x="4" y="1007"/>
                  </a:cubicBezTo>
                  <a:cubicBezTo>
                    <a:pt x="4" y="1016"/>
                    <a:pt x="2" y="1024"/>
                    <a:pt x="3" y="1032"/>
                  </a:cubicBezTo>
                  <a:cubicBezTo>
                    <a:pt x="3" y="1041"/>
                    <a:pt x="9" y="1051"/>
                    <a:pt x="7" y="1059"/>
                  </a:cubicBezTo>
                  <a:cubicBezTo>
                    <a:pt x="4" y="1069"/>
                    <a:pt x="8" y="1083"/>
                    <a:pt x="10" y="1094"/>
                  </a:cubicBezTo>
                  <a:cubicBezTo>
                    <a:pt x="12" y="1105"/>
                    <a:pt x="17" y="1115"/>
                    <a:pt x="8" y="1125"/>
                  </a:cubicBezTo>
                  <a:cubicBezTo>
                    <a:pt x="4" y="1129"/>
                    <a:pt x="3" y="1134"/>
                    <a:pt x="3" y="1140"/>
                  </a:cubicBezTo>
                  <a:cubicBezTo>
                    <a:pt x="3" y="1143"/>
                    <a:pt x="3" y="1146"/>
                    <a:pt x="3" y="1150"/>
                  </a:cubicBezTo>
                  <a:cubicBezTo>
                    <a:pt x="4" y="1153"/>
                    <a:pt x="8" y="1158"/>
                    <a:pt x="7" y="1161"/>
                  </a:cubicBezTo>
                  <a:cubicBezTo>
                    <a:pt x="5" y="1167"/>
                    <a:pt x="0" y="1172"/>
                    <a:pt x="4" y="1179"/>
                  </a:cubicBezTo>
                  <a:cubicBezTo>
                    <a:pt x="8" y="1185"/>
                    <a:pt x="14" y="1183"/>
                    <a:pt x="19" y="1186"/>
                  </a:cubicBezTo>
                  <a:cubicBezTo>
                    <a:pt x="22" y="1188"/>
                    <a:pt x="15" y="1195"/>
                    <a:pt x="14" y="1198"/>
                  </a:cubicBezTo>
                  <a:cubicBezTo>
                    <a:pt x="13" y="1204"/>
                    <a:pt x="14" y="1210"/>
                    <a:pt x="15" y="1215"/>
                  </a:cubicBezTo>
                  <a:cubicBezTo>
                    <a:pt x="16" y="1220"/>
                    <a:pt x="12" y="1220"/>
                    <a:pt x="12" y="1223"/>
                  </a:cubicBezTo>
                  <a:cubicBezTo>
                    <a:pt x="13" y="1227"/>
                    <a:pt x="16" y="1229"/>
                    <a:pt x="16" y="1233"/>
                  </a:cubicBezTo>
                  <a:cubicBezTo>
                    <a:pt x="17" y="1245"/>
                    <a:pt x="16" y="1256"/>
                    <a:pt x="14" y="1267"/>
                  </a:cubicBezTo>
                  <a:cubicBezTo>
                    <a:pt x="13" y="1275"/>
                    <a:pt x="20" y="1284"/>
                    <a:pt x="22" y="1291"/>
                  </a:cubicBezTo>
                  <a:cubicBezTo>
                    <a:pt x="26" y="1302"/>
                    <a:pt x="29" y="1313"/>
                    <a:pt x="34" y="1324"/>
                  </a:cubicBezTo>
                  <a:cubicBezTo>
                    <a:pt x="41" y="1343"/>
                    <a:pt x="57" y="1349"/>
                    <a:pt x="76" y="1355"/>
                  </a:cubicBezTo>
                  <a:cubicBezTo>
                    <a:pt x="80" y="1356"/>
                    <a:pt x="88" y="1359"/>
                    <a:pt x="92" y="1358"/>
                  </a:cubicBezTo>
                  <a:cubicBezTo>
                    <a:pt x="96" y="1357"/>
                    <a:pt x="98" y="1357"/>
                    <a:pt x="102" y="1358"/>
                  </a:cubicBezTo>
                  <a:cubicBezTo>
                    <a:pt x="109" y="1359"/>
                    <a:pt x="107" y="1373"/>
                    <a:pt x="108" y="1379"/>
                  </a:cubicBezTo>
                  <a:cubicBezTo>
                    <a:pt x="111" y="1404"/>
                    <a:pt x="115" y="1429"/>
                    <a:pt x="120" y="1453"/>
                  </a:cubicBezTo>
                  <a:cubicBezTo>
                    <a:pt x="124" y="1473"/>
                    <a:pt x="131" y="1492"/>
                    <a:pt x="135" y="1512"/>
                  </a:cubicBezTo>
                  <a:cubicBezTo>
                    <a:pt x="138" y="1532"/>
                    <a:pt x="139" y="1553"/>
                    <a:pt x="140" y="1573"/>
                  </a:cubicBezTo>
                  <a:cubicBezTo>
                    <a:pt x="143" y="1647"/>
                    <a:pt x="140" y="1720"/>
                    <a:pt x="145" y="1793"/>
                  </a:cubicBezTo>
                  <a:cubicBezTo>
                    <a:pt x="150" y="1860"/>
                    <a:pt x="153" y="1926"/>
                    <a:pt x="157" y="1992"/>
                  </a:cubicBezTo>
                  <a:cubicBezTo>
                    <a:pt x="158" y="2011"/>
                    <a:pt x="159" y="2029"/>
                    <a:pt x="159" y="2048"/>
                  </a:cubicBezTo>
                  <a:cubicBezTo>
                    <a:pt x="159" y="2053"/>
                    <a:pt x="160" y="2057"/>
                    <a:pt x="160" y="2062"/>
                  </a:cubicBezTo>
                  <a:cubicBezTo>
                    <a:pt x="160" y="2077"/>
                    <a:pt x="164" y="2090"/>
                    <a:pt x="167" y="2105"/>
                  </a:cubicBezTo>
                  <a:cubicBezTo>
                    <a:pt x="170" y="2114"/>
                    <a:pt x="165" y="2124"/>
                    <a:pt x="169" y="2133"/>
                  </a:cubicBezTo>
                  <a:cubicBezTo>
                    <a:pt x="171" y="2138"/>
                    <a:pt x="173" y="2140"/>
                    <a:pt x="173" y="2144"/>
                  </a:cubicBezTo>
                  <a:cubicBezTo>
                    <a:pt x="175" y="2162"/>
                    <a:pt x="176" y="2179"/>
                    <a:pt x="179" y="2196"/>
                  </a:cubicBezTo>
                  <a:cubicBezTo>
                    <a:pt x="180" y="2202"/>
                    <a:pt x="180" y="2210"/>
                    <a:pt x="184" y="2216"/>
                  </a:cubicBezTo>
                  <a:cubicBezTo>
                    <a:pt x="187" y="2221"/>
                    <a:pt x="192" y="2216"/>
                    <a:pt x="196" y="2217"/>
                  </a:cubicBezTo>
                  <a:cubicBezTo>
                    <a:pt x="205" y="2218"/>
                    <a:pt x="183" y="2238"/>
                    <a:pt x="183" y="2239"/>
                  </a:cubicBezTo>
                  <a:cubicBezTo>
                    <a:pt x="172" y="2249"/>
                    <a:pt x="165" y="2261"/>
                    <a:pt x="151" y="2268"/>
                  </a:cubicBezTo>
                  <a:cubicBezTo>
                    <a:pt x="142" y="2273"/>
                    <a:pt x="128" y="2275"/>
                    <a:pt x="124" y="2287"/>
                  </a:cubicBezTo>
                  <a:cubicBezTo>
                    <a:pt x="123" y="2291"/>
                    <a:pt x="125" y="2298"/>
                    <a:pt x="120" y="2301"/>
                  </a:cubicBezTo>
                  <a:cubicBezTo>
                    <a:pt x="117" y="2303"/>
                    <a:pt x="111" y="2303"/>
                    <a:pt x="111" y="2308"/>
                  </a:cubicBezTo>
                  <a:cubicBezTo>
                    <a:pt x="112" y="2315"/>
                    <a:pt x="117" y="2315"/>
                    <a:pt x="122" y="2316"/>
                  </a:cubicBezTo>
                  <a:cubicBezTo>
                    <a:pt x="128" y="2316"/>
                    <a:pt x="133" y="2318"/>
                    <a:pt x="138" y="2320"/>
                  </a:cubicBezTo>
                  <a:cubicBezTo>
                    <a:pt x="157" y="2323"/>
                    <a:pt x="177" y="2323"/>
                    <a:pt x="197" y="2323"/>
                  </a:cubicBezTo>
                  <a:cubicBezTo>
                    <a:pt x="215" y="2323"/>
                    <a:pt x="233" y="2322"/>
                    <a:pt x="251" y="2320"/>
                  </a:cubicBezTo>
                  <a:cubicBezTo>
                    <a:pt x="260" y="2320"/>
                    <a:pt x="271" y="2320"/>
                    <a:pt x="273" y="2309"/>
                  </a:cubicBezTo>
                  <a:cubicBezTo>
                    <a:pt x="275" y="2299"/>
                    <a:pt x="277" y="2294"/>
                    <a:pt x="287" y="2298"/>
                  </a:cubicBezTo>
                  <a:cubicBezTo>
                    <a:pt x="298" y="2302"/>
                    <a:pt x="305" y="2301"/>
                    <a:pt x="316" y="2298"/>
                  </a:cubicBezTo>
                  <a:cubicBezTo>
                    <a:pt x="323" y="2295"/>
                    <a:pt x="344" y="2293"/>
                    <a:pt x="343" y="2282"/>
                  </a:cubicBezTo>
                  <a:cubicBezTo>
                    <a:pt x="342" y="2275"/>
                    <a:pt x="342" y="2268"/>
                    <a:pt x="342" y="2262"/>
                  </a:cubicBezTo>
                  <a:cubicBezTo>
                    <a:pt x="342" y="2257"/>
                    <a:pt x="343" y="2250"/>
                    <a:pt x="341" y="2246"/>
                  </a:cubicBezTo>
                  <a:cubicBezTo>
                    <a:pt x="339" y="2243"/>
                    <a:pt x="335" y="2244"/>
                    <a:pt x="334" y="2243"/>
                  </a:cubicBezTo>
                  <a:cubicBezTo>
                    <a:pt x="332" y="2239"/>
                    <a:pt x="334" y="2230"/>
                    <a:pt x="334" y="2225"/>
                  </a:cubicBezTo>
                  <a:cubicBezTo>
                    <a:pt x="334" y="2221"/>
                    <a:pt x="334" y="2215"/>
                    <a:pt x="332" y="2211"/>
                  </a:cubicBezTo>
                  <a:cubicBezTo>
                    <a:pt x="330" y="2207"/>
                    <a:pt x="333" y="2204"/>
                    <a:pt x="335" y="2199"/>
                  </a:cubicBezTo>
                  <a:cubicBezTo>
                    <a:pt x="337" y="2194"/>
                    <a:pt x="335" y="2188"/>
                    <a:pt x="334" y="2183"/>
                  </a:cubicBezTo>
                  <a:cubicBezTo>
                    <a:pt x="333" y="2175"/>
                    <a:pt x="334" y="2167"/>
                    <a:pt x="333" y="2159"/>
                  </a:cubicBezTo>
                  <a:cubicBezTo>
                    <a:pt x="332" y="2142"/>
                    <a:pt x="331" y="2124"/>
                    <a:pt x="330" y="2106"/>
                  </a:cubicBezTo>
                  <a:cubicBezTo>
                    <a:pt x="328" y="2086"/>
                    <a:pt x="326" y="2067"/>
                    <a:pt x="324" y="2047"/>
                  </a:cubicBezTo>
                  <a:cubicBezTo>
                    <a:pt x="321" y="2027"/>
                    <a:pt x="323" y="2006"/>
                    <a:pt x="323" y="1985"/>
                  </a:cubicBezTo>
                  <a:cubicBezTo>
                    <a:pt x="322" y="1966"/>
                    <a:pt x="321" y="1947"/>
                    <a:pt x="319" y="1928"/>
                  </a:cubicBezTo>
                  <a:cubicBezTo>
                    <a:pt x="317" y="1902"/>
                    <a:pt x="318" y="1877"/>
                    <a:pt x="316" y="1852"/>
                  </a:cubicBezTo>
                  <a:cubicBezTo>
                    <a:pt x="313" y="1824"/>
                    <a:pt x="309" y="1796"/>
                    <a:pt x="298" y="1770"/>
                  </a:cubicBezTo>
                  <a:cubicBezTo>
                    <a:pt x="294" y="1759"/>
                    <a:pt x="290" y="1752"/>
                    <a:pt x="289" y="1740"/>
                  </a:cubicBezTo>
                  <a:cubicBezTo>
                    <a:pt x="288" y="1729"/>
                    <a:pt x="290" y="1718"/>
                    <a:pt x="289" y="1706"/>
                  </a:cubicBezTo>
                  <a:cubicBezTo>
                    <a:pt x="287" y="1683"/>
                    <a:pt x="283" y="1661"/>
                    <a:pt x="286" y="1638"/>
                  </a:cubicBezTo>
                  <a:cubicBezTo>
                    <a:pt x="289" y="1609"/>
                    <a:pt x="292" y="1580"/>
                    <a:pt x="296" y="1552"/>
                  </a:cubicBezTo>
                  <a:cubicBezTo>
                    <a:pt x="302" y="1520"/>
                    <a:pt x="305" y="1488"/>
                    <a:pt x="309" y="1456"/>
                  </a:cubicBezTo>
                  <a:cubicBezTo>
                    <a:pt x="312" y="1435"/>
                    <a:pt x="315" y="1415"/>
                    <a:pt x="319" y="1394"/>
                  </a:cubicBezTo>
                  <a:cubicBezTo>
                    <a:pt x="320" y="1384"/>
                    <a:pt x="318" y="1375"/>
                    <a:pt x="319" y="1365"/>
                  </a:cubicBezTo>
                  <a:cubicBezTo>
                    <a:pt x="320" y="1355"/>
                    <a:pt x="323" y="1345"/>
                    <a:pt x="322" y="1335"/>
                  </a:cubicBezTo>
                  <a:cubicBezTo>
                    <a:pt x="322" y="1326"/>
                    <a:pt x="322" y="1318"/>
                    <a:pt x="325" y="1309"/>
                  </a:cubicBezTo>
                  <a:cubicBezTo>
                    <a:pt x="327" y="1304"/>
                    <a:pt x="329" y="1292"/>
                    <a:pt x="332" y="1289"/>
                  </a:cubicBezTo>
                  <a:cubicBezTo>
                    <a:pt x="332" y="1290"/>
                    <a:pt x="336" y="1293"/>
                    <a:pt x="337" y="1293"/>
                  </a:cubicBezTo>
                  <a:cubicBezTo>
                    <a:pt x="341" y="1295"/>
                    <a:pt x="343" y="1295"/>
                    <a:pt x="344" y="1300"/>
                  </a:cubicBezTo>
                  <a:cubicBezTo>
                    <a:pt x="347" y="1311"/>
                    <a:pt x="349" y="1323"/>
                    <a:pt x="352" y="1334"/>
                  </a:cubicBezTo>
                  <a:cubicBezTo>
                    <a:pt x="357" y="1354"/>
                    <a:pt x="359" y="1375"/>
                    <a:pt x="361" y="1396"/>
                  </a:cubicBezTo>
                  <a:cubicBezTo>
                    <a:pt x="365" y="1433"/>
                    <a:pt x="372" y="1470"/>
                    <a:pt x="376" y="1507"/>
                  </a:cubicBezTo>
                  <a:cubicBezTo>
                    <a:pt x="378" y="1526"/>
                    <a:pt x="381" y="1544"/>
                    <a:pt x="384" y="1561"/>
                  </a:cubicBezTo>
                  <a:cubicBezTo>
                    <a:pt x="388" y="1578"/>
                    <a:pt x="390" y="1597"/>
                    <a:pt x="396" y="1613"/>
                  </a:cubicBezTo>
                  <a:cubicBezTo>
                    <a:pt x="404" y="1633"/>
                    <a:pt x="411" y="1652"/>
                    <a:pt x="415" y="1674"/>
                  </a:cubicBezTo>
                  <a:cubicBezTo>
                    <a:pt x="418" y="1695"/>
                    <a:pt x="422" y="1715"/>
                    <a:pt x="424" y="1736"/>
                  </a:cubicBezTo>
                  <a:cubicBezTo>
                    <a:pt x="429" y="1768"/>
                    <a:pt x="430" y="1800"/>
                    <a:pt x="433" y="1832"/>
                  </a:cubicBezTo>
                  <a:cubicBezTo>
                    <a:pt x="436" y="1867"/>
                    <a:pt x="440" y="1901"/>
                    <a:pt x="443" y="1936"/>
                  </a:cubicBezTo>
                  <a:cubicBezTo>
                    <a:pt x="447" y="1970"/>
                    <a:pt x="451" y="2004"/>
                    <a:pt x="455" y="2039"/>
                  </a:cubicBezTo>
                  <a:cubicBezTo>
                    <a:pt x="458" y="2067"/>
                    <a:pt x="457" y="2096"/>
                    <a:pt x="459" y="2124"/>
                  </a:cubicBezTo>
                  <a:cubicBezTo>
                    <a:pt x="460" y="2144"/>
                    <a:pt x="468" y="2163"/>
                    <a:pt x="471" y="2183"/>
                  </a:cubicBezTo>
                  <a:cubicBezTo>
                    <a:pt x="472" y="2192"/>
                    <a:pt x="471" y="2201"/>
                    <a:pt x="472" y="2210"/>
                  </a:cubicBezTo>
                  <a:cubicBezTo>
                    <a:pt x="472" y="2218"/>
                    <a:pt x="479" y="2223"/>
                    <a:pt x="478" y="2230"/>
                  </a:cubicBezTo>
                  <a:cubicBezTo>
                    <a:pt x="477" y="2234"/>
                    <a:pt x="478" y="2238"/>
                    <a:pt x="477" y="2243"/>
                  </a:cubicBezTo>
                  <a:cubicBezTo>
                    <a:pt x="477" y="2246"/>
                    <a:pt x="473" y="2245"/>
                    <a:pt x="471" y="2246"/>
                  </a:cubicBezTo>
                  <a:cubicBezTo>
                    <a:pt x="469" y="2248"/>
                    <a:pt x="469" y="2256"/>
                    <a:pt x="469" y="2259"/>
                  </a:cubicBezTo>
                  <a:cubicBezTo>
                    <a:pt x="468" y="2266"/>
                    <a:pt x="468" y="2274"/>
                    <a:pt x="468" y="2282"/>
                  </a:cubicBezTo>
                  <a:cubicBezTo>
                    <a:pt x="467" y="2289"/>
                    <a:pt x="468" y="2295"/>
                    <a:pt x="476" y="2298"/>
                  </a:cubicBezTo>
                  <a:cubicBezTo>
                    <a:pt x="480" y="2300"/>
                    <a:pt x="484" y="2303"/>
                    <a:pt x="489" y="2304"/>
                  </a:cubicBezTo>
                  <a:cubicBezTo>
                    <a:pt x="491" y="2305"/>
                    <a:pt x="497" y="2301"/>
                    <a:pt x="498" y="2302"/>
                  </a:cubicBezTo>
                  <a:cubicBezTo>
                    <a:pt x="501" y="2305"/>
                    <a:pt x="488" y="2317"/>
                    <a:pt x="497" y="2323"/>
                  </a:cubicBezTo>
                  <a:cubicBezTo>
                    <a:pt x="505" y="2329"/>
                    <a:pt x="519" y="2329"/>
                    <a:pt x="529" y="2330"/>
                  </a:cubicBezTo>
                  <a:cubicBezTo>
                    <a:pt x="550" y="2334"/>
                    <a:pt x="572" y="2335"/>
                    <a:pt x="594" y="2334"/>
                  </a:cubicBezTo>
                  <a:cubicBezTo>
                    <a:pt x="607" y="2333"/>
                    <a:pt x="620" y="2331"/>
                    <a:pt x="634" y="2331"/>
                  </a:cubicBezTo>
                  <a:cubicBezTo>
                    <a:pt x="645" y="2331"/>
                    <a:pt x="640" y="2319"/>
                    <a:pt x="634" y="2314"/>
                  </a:cubicBezTo>
                  <a:cubicBezTo>
                    <a:pt x="631" y="2312"/>
                    <a:pt x="630" y="2313"/>
                    <a:pt x="630" y="2309"/>
                  </a:cubicBezTo>
                  <a:cubicBezTo>
                    <a:pt x="630" y="2304"/>
                    <a:pt x="630" y="2298"/>
                    <a:pt x="629" y="2293"/>
                  </a:cubicBezTo>
                  <a:cubicBezTo>
                    <a:pt x="625" y="2283"/>
                    <a:pt x="615" y="2275"/>
                    <a:pt x="611" y="2265"/>
                  </a:cubicBezTo>
                  <a:cubicBezTo>
                    <a:pt x="606" y="2255"/>
                    <a:pt x="597" y="2249"/>
                    <a:pt x="594" y="2238"/>
                  </a:cubicBezTo>
                  <a:cubicBezTo>
                    <a:pt x="590" y="2228"/>
                    <a:pt x="591" y="2228"/>
                    <a:pt x="597" y="2219"/>
                  </a:cubicBezTo>
                  <a:cubicBezTo>
                    <a:pt x="604" y="2208"/>
                    <a:pt x="600" y="2196"/>
                    <a:pt x="598" y="2184"/>
                  </a:cubicBezTo>
                  <a:cubicBezTo>
                    <a:pt x="596" y="2174"/>
                    <a:pt x="595" y="2163"/>
                    <a:pt x="594" y="2152"/>
                  </a:cubicBezTo>
                  <a:cubicBezTo>
                    <a:pt x="592" y="2132"/>
                    <a:pt x="584" y="2106"/>
                    <a:pt x="593" y="2087"/>
                  </a:cubicBezTo>
                  <a:cubicBezTo>
                    <a:pt x="599" y="2074"/>
                    <a:pt x="597" y="2057"/>
                    <a:pt x="598" y="2043"/>
                  </a:cubicBezTo>
                  <a:cubicBezTo>
                    <a:pt x="598" y="2006"/>
                    <a:pt x="597" y="1969"/>
                    <a:pt x="596" y="1932"/>
                  </a:cubicBezTo>
                  <a:cubicBezTo>
                    <a:pt x="596" y="1891"/>
                    <a:pt x="595" y="1851"/>
                    <a:pt x="591" y="1810"/>
                  </a:cubicBezTo>
                  <a:cubicBezTo>
                    <a:pt x="590" y="1792"/>
                    <a:pt x="587" y="1773"/>
                    <a:pt x="586" y="1754"/>
                  </a:cubicBezTo>
                  <a:cubicBezTo>
                    <a:pt x="584" y="1732"/>
                    <a:pt x="585" y="1711"/>
                    <a:pt x="582" y="1689"/>
                  </a:cubicBezTo>
                  <a:cubicBezTo>
                    <a:pt x="579" y="1666"/>
                    <a:pt x="583" y="1642"/>
                    <a:pt x="584" y="1619"/>
                  </a:cubicBezTo>
                  <a:cubicBezTo>
                    <a:pt x="584" y="1586"/>
                    <a:pt x="589" y="1553"/>
                    <a:pt x="592" y="1520"/>
                  </a:cubicBezTo>
                  <a:cubicBezTo>
                    <a:pt x="596" y="1465"/>
                    <a:pt x="584" y="1412"/>
                    <a:pt x="584" y="1357"/>
                  </a:cubicBezTo>
                  <a:cubicBezTo>
                    <a:pt x="584" y="1352"/>
                    <a:pt x="583" y="1341"/>
                    <a:pt x="588" y="1338"/>
                  </a:cubicBezTo>
                  <a:cubicBezTo>
                    <a:pt x="592" y="1336"/>
                    <a:pt x="597" y="1335"/>
                    <a:pt x="601" y="1332"/>
                  </a:cubicBezTo>
                  <a:cubicBezTo>
                    <a:pt x="607" y="1329"/>
                    <a:pt x="615" y="1328"/>
                    <a:pt x="619" y="1324"/>
                  </a:cubicBezTo>
                  <a:cubicBezTo>
                    <a:pt x="622" y="1321"/>
                    <a:pt x="624" y="1319"/>
                    <a:pt x="629" y="1319"/>
                  </a:cubicBezTo>
                  <a:cubicBezTo>
                    <a:pt x="635" y="1318"/>
                    <a:pt x="636" y="1314"/>
                    <a:pt x="637" y="1309"/>
                  </a:cubicBezTo>
                  <a:cubicBezTo>
                    <a:pt x="639" y="1305"/>
                    <a:pt x="641" y="1304"/>
                    <a:pt x="645" y="1302"/>
                  </a:cubicBezTo>
                  <a:cubicBezTo>
                    <a:pt x="651" y="1300"/>
                    <a:pt x="652" y="1293"/>
                    <a:pt x="654" y="1288"/>
                  </a:cubicBezTo>
                  <a:cubicBezTo>
                    <a:pt x="656" y="1278"/>
                    <a:pt x="657" y="1268"/>
                    <a:pt x="660" y="1258"/>
                  </a:cubicBezTo>
                  <a:cubicBezTo>
                    <a:pt x="663" y="1247"/>
                    <a:pt x="661" y="1232"/>
                    <a:pt x="661" y="1220"/>
                  </a:cubicBezTo>
                  <a:cubicBezTo>
                    <a:pt x="661" y="1218"/>
                    <a:pt x="659" y="1207"/>
                    <a:pt x="661" y="1207"/>
                  </a:cubicBezTo>
                  <a:cubicBezTo>
                    <a:pt x="663" y="1207"/>
                    <a:pt x="666" y="1205"/>
                    <a:pt x="665" y="1203"/>
                  </a:cubicBezTo>
                  <a:cubicBezTo>
                    <a:pt x="665" y="1200"/>
                    <a:pt x="663" y="1199"/>
                    <a:pt x="663" y="1196"/>
                  </a:cubicBezTo>
                  <a:cubicBezTo>
                    <a:pt x="664" y="1189"/>
                    <a:pt x="667" y="1185"/>
                    <a:pt x="667" y="1178"/>
                  </a:cubicBezTo>
                  <a:cubicBezTo>
                    <a:pt x="666" y="1173"/>
                    <a:pt x="666" y="1167"/>
                    <a:pt x="663" y="1164"/>
                  </a:cubicBezTo>
                  <a:cubicBezTo>
                    <a:pt x="659" y="1158"/>
                    <a:pt x="664" y="1160"/>
                    <a:pt x="667" y="1156"/>
                  </a:cubicBezTo>
                  <a:cubicBezTo>
                    <a:pt x="671" y="1150"/>
                    <a:pt x="670" y="1138"/>
                    <a:pt x="668" y="1131"/>
                  </a:cubicBezTo>
                  <a:cubicBezTo>
                    <a:pt x="667" y="1127"/>
                    <a:pt x="665" y="1127"/>
                    <a:pt x="663" y="1123"/>
                  </a:cubicBezTo>
                  <a:cubicBezTo>
                    <a:pt x="661" y="1119"/>
                    <a:pt x="667" y="1112"/>
                    <a:pt x="669" y="1109"/>
                  </a:cubicBezTo>
                  <a:cubicBezTo>
                    <a:pt x="671" y="1103"/>
                    <a:pt x="673" y="1096"/>
                    <a:pt x="671" y="1089"/>
                  </a:cubicBezTo>
                  <a:cubicBezTo>
                    <a:pt x="670" y="1082"/>
                    <a:pt x="664" y="1076"/>
                    <a:pt x="667" y="1068"/>
                  </a:cubicBezTo>
                  <a:cubicBezTo>
                    <a:pt x="670" y="1062"/>
                    <a:pt x="674" y="1058"/>
                    <a:pt x="675" y="1052"/>
                  </a:cubicBezTo>
                  <a:cubicBezTo>
                    <a:pt x="676" y="1046"/>
                    <a:pt x="676" y="1041"/>
                    <a:pt x="676" y="1035"/>
                  </a:cubicBezTo>
                  <a:cubicBezTo>
                    <a:pt x="676" y="1022"/>
                    <a:pt x="680" y="1011"/>
                    <a:pt x="676" y="998"/>
                  </a:cubicBezTo>
                  <a:moveTo>
                    <a:pt x="95" y="1318"/>
                  </a:moveTo>
                  <a:cubicBezTo>
                    <a:pt x="91" y="1319"/>
                    <a:pt x="87" y="1323"/>
                    <a:pt x="86" y="1318"/>
                  </a:cubicBezTo>
                  <a:cubicBezTo>
                    <a:pt x="85" y="1310"/>
                    <a:pt x="85" y="1301"/>
                    <a:pt x="82" y="1294"/>
                  </a:cubicBezTo>
                  <a:cubicBezTo>
                    <a:pt x="80" y="1292"/>
                    <a:pt x="82" y="1291"/>
                    <a:pt x="83" y="1290"/>
                  </a:cubicBezTo>
                  <a:cubicBezTo>
                    <a:pt x="84" y="1286"/>
                    <a:pt x="81" y="1281"/>
                    <a:pt x="81" y="1278"/>
                  </a:cubicBezTo>
                  <a:cubicBezTo>
                    <a:pt x="80" y="1272"/>
                    <a:pt x="79" y="1266"/>
                    <a:pt x="86" y="1265"/>
                  </a:cubicBezTo>
                  <a:cubicBezTo>
                    <a:pt x="87" y="1265"/>
                    <a:pt x="94" y="1260"/>
                    <a:pt x="95" y="1262"/>
                  </a:cubicBezTo>
                  <a:cubicBezTo>
                    <a:pt x="98" y="1267"/>
                    <a:pt x="96" y="1278"/>
                    <a:pt x="96" y="1283"/>
                  </a:cubicBezTo>
                  <a:cubicBezTo>
                    <a:pt x="97" y="1291"/>
                    <a:pt x="97" y="1299"/>
                    <a:pt x="98" y="1307"/>
                  </a:cubicBezTo>
                  <a:cubicBezTo>
                    <a:pt x="99" y="1313"/>
                    <a:pt x="102" y="1316"/>
                    <a:pt x="95" y="1318"/>
                  </a:cubicBezTo>
                  <a:moveTo>
                    <a:pt x="146" y="764"/>
                  </a:moveTo>
                  <a:cubicBezTo>
                    <a:pt x="146" y="772"/>
                    <a:pt x="143" y="781"/>
                    <a:pt x="142" y="790"/>
                  </a:cubicBezTo>
                  <a:cubicBezTo>
                    <a:pt x="141" y="800"/>
                    <a:pt x="143" y="810"/>
                    <a:pt x="145" y="821"/>
                  </a:cubicBezTo>
                  <a:cubicBezTo>
                    <a:pt x="146" y="828"/>
                    <a:pt x="147" y="836"/>
                    <a:pt x="145" y="844"/>
                  </a:cubicBezTo>
                  <a:cubicBezTo>
                    <a:pt x="144" y="853"/>
                    <a:pt x="140" y="862"/>
                    <a:pt x="139" y="872"/>
                  </a:cubicBezTo>
                  <a:cubicBezTo>
                    <a:pt x="139" y="882"/>
                    <a:pt x="139" y="893"/>
                    <a:pt x="138" y="904"/>
                  </a:cubicBezTo>
                  <a:cubicBezTo>
                    <a:pt x="137" y="913"/>
                    <a:pt x="134" y="922"/>
                    <a:pt x="135" y="931"/>
                  </a:cubicBezTo>
                  <a:cubicBezTo>
                    <a:pt x="135" y="940"/>
                    <a:pt x="142" y="948"/>
                    <a:pt x="139" y="958"/>
                  </a:cubicBezTo>
                  <a:cubicBezTo>
                    <a:pt x="137" y="969"/>
                    <a:pt x="131" y="980"/>
                    <a:pt x="128" y="991"/>
                  </a:cubicBezTo>
                  <a:cubicBezTo>
                    <a:pt x="125" y="999"/>
                    <a:pt x="123" y="1007"/>
                    <a:pt x="122" y="1016"/>
                  </a:cubicBezTo>
                  <a:cubicBezTo>
                    <a:pt x="120" y="1023"/>
                    <a:pt x="116" y="1029"/>
                    <a:pt x="114" y="1036"/>
                  </a:cubicBezTo>
                  <a:cubicBezTo>
                    <a:pt x="110" y="1050"/>
                    <a:pt x="108" y="1065"/>
                    <a:pt x="106" y="1080"/>
                  </a:cubicBezTo>
                  <a:cubicBezTo>
                    <a:pt x="104" y="1087"/>
                    <a:pt x="96" y="1090"/>
                    <a:pt x="104" y="1095"/>
                  </a:cubicBezTo>
                  <a:cubicBezTo>
                    <a:pt x="108" y="1099"/>
                    <a:pt x="104" y="1113"/>
                    <a:pt x="103" y="1118"/>
                  </a:cubicBezTo>
                  <a:cubicBezTo>
                    <a:pt x="103" y="1120"/>
                    <a:pt x="101" y="1141"/>
                    <a:pt x="99" y="1142"/>
                  </a:cubicBezTo>
                  <a:cubicBezTo>
                    <a:pt x="96" y="1142"/>
                    <a:pt x="91" y="1128"/>
                    <a:pt x="91" y="1125"/>
                  </a:cubicBezTo>
                  <a:cubicBezTo>
                    <a:pt x="91" y="1119"/>
                    <a:pt x="92" y="1114"/>
                    <a:pt x="93" y="1108"/>
                  </a:cubicBezTo>
                  <a:cubicBezTo>
                    <a:pt x="93" y="1104"/>
                    <a:pt x="91" y="1099"/>
                    <a:pt x="92" y="1095"/>
                  </a:cubicBezTo>
                  <a:cubicBezTo>
                    <a:pt x="98" y="1080"/>
                    <a:pt x="100" y="1065"/>
                    <a:pt x="104" y="1050"/>
                  </a:cubicBezTo>
                  <a:cubicBezTo>
                    <a:pt x="106" y="1042"/>
                    <a:pt x="108" y="1034"/>
                    <a:pt x="110" y="1026"/>
                  </a:cubicBezTo>
                  <a:cubicBezTo>
                    <a:pt x="112" y="1018"/>
                    <a:pt x="118" y="1008"/>
                    <a:pt x="117" y="1000"/>
                  </a:cubicBezTo>
                  <a:cubicBezTo>
                    <a:pt x="117" y="994"/>
                    <a:pt x="115" y="988"/>
                    <a:pt x="117" y="982"/>
                  </a:cubicBezTo>
                  <a:cubicBezTo>
                    <a:pt x="118" y="977"/>
                    <a:pt x="120" y="973"/>
                    <a:pt x="121" y="969"/>
                  </a:cubicBezTo>
                  <a:cubicBezTo>
                    <a:pt x="123" y="958"/>
                    <a:pt x="122" y="947"/>
                    <a:pt x="124" y="936"/>
                  </a:cubicBezTo>
                  <a:cubicBezTo>
                    <a:pt x="126" y="924"/>
                    <a:pt x="130" y="918"/>
                    <a:pt x="126" y="906"/>
                  </a:cubicBezTo>
                  <a:cubicBezTo>
                    <a:pt x="124" y="897"/>
                    <a:pt x="129" y="888"/>
                    <a:pt x="132" y="879"/>
                  </a:cubicBezTo>
                  <a:cubicBezTo>
                    <a:pt x="135" y="868"/>
                    <a:pt x="133" y="860"/>
                    <a:pt x="133" y="849"/>
                  </a:cubicBezTo>
                  <a:cubicBezTo>
                    <a:pt x="132" y="842"/>
                    <a:pt x="129" y="832"/>
                    <a:pt x="131" y="825"/>
                  </a:cubicBezTo>
                  <a:cubicBezTo>
                    <a:pt x="137" y="805"/>
                    <a:pt x="133" y="784"/>
                    <a:pt x="137" y="764"/>
                  </a:cubicBezTo>
                  <a:cubicBezTo>
                    <a:pt x="140" y="753"/>
                    <a:pt x="142" y="743"/>
                    <a:pt x="144" y="733"/>
                  </a:cubicBezTo>
                  <a:cubicBezTo>
                    <a:pt x="144" y="731"/>
                    <a:pt x="145" y="722"/>
                    <a:pt x="147" y="720"/>
                  </a:cubicBezTo>
                  <a:cubicBezTo>
                    <a:pt x="147" y="721"/>
                    <a:pt x="147" y="731"/>
                    <a:pt x="147" y="732"/>
                  </a:cubicBezTo>
                  <a:cubicBezTo>
                    <a:pt x="147" y="736"/>
                    <a:pt x="148" y="738"/>
                    <a:pt x="148" y="742"/>
                  </a:cubicBezTo>
                  <a:cubicBezTo>
                    <a:pt x="150" y="749"/>
                    <a:pt x="147" y="756"/>
                    <a:pt x="146" y="764"/>
                  </a:cubicBezTo>
                  <a:moveTo>
                    <a:pt x="565" y="1169"/>
                  </a:moveTo>
                  <a:cubicBezTo>
                    <a:pt x="567" y="1152"/>
                    <a:pt x="564" y="1133"/>
                    <a:pt x="562" y="1116"/>
                  </a:cubicBezTo>
                  <a:cubicBezTo>
                    <a:pt x="561" y="1109"/>
                    <a:pt x="557" y="1103"/>
                    <a:pt x="563" y="1097"/>
                  </a:cubicBezTo>
                  <a:cubicBezTo>
                    <a:pt x="565" y="1095"/>
                    <a:pt x="571" y="1093"/>
                    <a:pt x="567" y="1088"/>
                  </a:cubicBezTo>
                  <a:cubicBezTo>
                    <a:pt x="564" y="1085"/>
                    <a:pt x="562" y="1087"/>
                    <a:pt x="561" y="1083"/>
                  </a:cubicBezTo>
                  <a:cubicBezTo>
                    <a:pt x="555" y="1062"/>
                    <a:pt x="549" y="1042"/>
                    <a:pt x="546" y="1020"/>
                  </a:cubicBezTo>
                  <a:cubicBezTo>
                    <a:pt x="543" y="994"/>
                    <a:pt x="534" y="969"/>
                    <a:pt x="535" y="943"/>
                  </a:cubicBezTo>
                  <a:cubicBezTo>
                    <a:pt x="535" y="924"/>
                    <a:pt x="533" y="904"/>
                    <a:pt x="533" y="885"/>
                  </a:cubicBezTo>
                  <a:cubicBezTo>
                    <a:pt x="533" y="863"/>
                    <a:pt x="534" y="840"/>
                    <a:pt x="534" y="817"/>
                  </a:cubicBezTo>
                  <a:cubicBezTo>
                    <a:pt x="534" y="797"/>
                    <a:pt x="533" y="778"/>
                    <a:pt x="534" y="758"/>
                  </a:cubicBezTo>
                  <a:cubicBezTo>
                    <a:pt x="534" y="750"/>
                    <a:pt x="534" y="741"/>
                    <a:pt x="535" y="733"/>
                  </a:cubicBezTo>
                  <a:cubicBezTo>
                    <a:pt x="536" y="728"/>
                    <a:pt x="537" y="722"/>
                    <a:pt x="537" y="717"/>
                  </a:cubicBezTo>
                  <a:cubicBezTo>
                    <a:pt x="537" y="715"/>
                    <a:pt x="537" y="710"/>
                    <a:pt x="538" y="709"/>
                  </a:cubicBezTo>
                  <a:cubicBezTo>
                    <a:pt x="537" y="710"/>
                    <a:pt x="545" y="727"/>
                    <a:pt x="546" y="729"/>
                  </a:cubicBezTo>
                  <a:cubicBezTo>
                    <a:pt x="549" y="739"/>
                    <a:pt x="549" y="749"/>
                    <a:pt x="550" y="760"/>
                  </a:cubicBezTo>
                  <a:cubicBezTo>
                    <a:pt x="550" y="769"/>
                    <a:pt x="551" y="778"/>
                    <a:pt x="553" y="787"/>
                  </a:cubicBezTo>
                  <a:cubicBezTo>
                    <a:pt x="555" y="799"/>
                    <a:pt x="553" y="810"/>
                    <a:pt x="555" y="822"/>
                  </a:cubicBezTo>
                  <a:cubicBezTo>
                    <a:pt x="556" y="836"/>
                    <a:pt x="554" y="848"/>
                    <a:pt x="554" y="862"/>
                  </a:cubicBezTo>
                  <a:cubicBezTo>
                    <a:pt x="553" y="874"/>
                    <a:pt x="555" y="887"/>
                    <a:pt x="557" y="899"/>
                  </a:cubicBezTo>
                  <a:cubicBezTo>
                    <a:pt x="558" y="908"/>
                    <a:pt x="559" y="916"/>
                    <a:pt x="562" y="925"/>
                  </a:cubicBezTo>
                  <a:cubicBezTo>
                    <a:pt x="566" y="936"/>
                    <a:pt x="565" y="952"/>
                    <a:pt x="566" y="964"/>
                  </a:cubicBezTo>
                  <a:cubicBezTo>
                    <a:pt x="566" y="978"/>
                    <a:pt x="572" y="989"/>
                    <a:pt x="573" y="1003"/>
                  </a:cubicBezTo>
                  <a:cubicBezTo>
                    <a:pt x="575" y="1015"/>
                    <a:pt x="575" y="1027"/>
                    <a:pt x="577" y="1038"/>
                  </a:cubicBezTo>
                  <a:cubicBezTo>
                    <a:pt x="579" y="1047"/>
                    <a:pt x="577" y="1053"/>
                    <a:pt x="575" y="1062"/>
                  </a:cubicBezTo>
                  <a:cubicBezTo>
                    <a:pt x="574" y="1072"/>
                    <a:pt x="580" y="1081"/>
                    <a:pt x="578" y="1090"/>
                  </a:cubicBezTo>
                  <a:cubicBezTo>
                    <a:pt x="578" y="1097"/>
                    <a:pt x="576" y="1103"/>
                    <a:pt x="576" y="1109"/>
                  </a:cubicBezTo>
                  <a:cubicBezTo>
                    <a:pt x="576" y="1115"/>
                    <a:pt x="578" y="1122"/>
                    <a:pt x="576" y="1127"/>
                  </a:cubicBezTo>
                  <a:cubicBezTo>
                    <a:pt x="574" y="1134"/>
                    <a:pt x="574" y="1136"/>
                    <a:pt x="578" y="1142"/>
                  </a:cubicBezTo>
                  <a:cubicBezTo>
                    <a:pt x="580" y="1144"/>
                    <a:pt x="584" y="1147"/>
                    <a:pt x="583" y="1150"/>
                  </a:cubicBezTo>
                  <a:cubicBezTo>
                    <a:pt x="582" y="1154"/>
                    <a:pt x="580" y="1158"/>
                    <a:pt x="578" y="1161"/>
                  </a:cubicBezTo>
                  <a:cubicBezTo>
                    <a:pt x="577" y="1163"/>
                    <a:pt x="571" y="1167"/>
                    <a:pt x="571" y="1167"/>
                  </a:cubicBezTo>
                  <a:cubicBezTo>
                    <a:pt x="571" y="1171"/>
                    <a:pt x="572" y="1173"/>
                    <a:pt x="568" y="1177"/>
                  </a:cubicBezTo>
                  <a:cubicBezTo>
                    <a:pt x="564" y="1180"/>
                    <a:pt x="565" y="1171"/>
                    <a:pt x="565" y="1169"/>
                  </a:cubicBezTo>
                  <a:moveTo>
                    <a:pt x="584" y="1252"/>
                  </a:moveTo>
                  <a:cubicBezTo>
                    <a:pt x="580" y="1259"/>
                    <a:pt x="583" y="1265"/>
                    <a:pt x="583" y="1271"/>
                  </a:cubicBezTo>
                  <a:cubicBezTo>
                    <a:pt x="583" y="1273"/>
                    <a:pt x="578" y="1289"/>
                    <a:pt x="579" y="1290"/>
                  </a:cubicBezTo>
                  <a:cubicBezTo>
                    <a:pt x="576" y="1288"/>
                    <a:pt x="576" y="1279"/>
                    <a:pt x="575" y="1276"/>
                  </a:cubicBezTo>
                  <a:cubicBezTo>
                    <a:pt x="574" y="1271"/>
                    <a:pt x="572" y="1266"/>
                    <a:pt x="572" y="1261"/>
                  </a:cubicBezTo>
                  <a:cubicBezTo>
                    <a:pt x="571" y="1257"/>
                    <a:pt x="569" y="1244"/>
                    <a:pt x="575" y="1242"/>
                  </a:cubicBezTo>
                  <a:cubicBezTo>
                    <a:pt x="577" y="1241"/>
                    <a:pt x="585" y="1249"/>
                    <a:pt x="584" y="1252"/>
                  </a:cubicBezTo>
                </a:path>
              </a:pathLst>
            </a:custGeom>
            <a:solidFill>
              <a:schemeClr val="tx1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  <p:txBody>
            <a:bodyPr/>
            <a:lstStyle/>
            <a:p>
              <a:pPr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4000" kern="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grpSp>
          <p:nvGrpSpPr>
            <p:cNvPr id="684" name="Gruppieren 281">
              <a:extLst>
                <a:ext uri="{FF2B5EF4-FFF2-40B4-BE49-F238E27FC236}">
                  <a16:creationId xmlns:a16="http://schemas.microsoft.com/office/drawing/2014/main" id="{9E83DD23-89E1-4F59-8FF6-CC616557CA39}"/>
                </a:ext>
              </a:extLst>
            </p:cNvPr>
            <p:cNvGrpSpPr/>
            <p:nvPr/>
          </p:nvGrpSpPr>
          <p:grpSpPr bwMode="auto">
            <a:xfrm>
              <a:off x="31029155" y="17193892"/>
              <a:ext cx="725032" cy="1464625"/>
              <a:chOff x="2519371" y="955678"/>
              <a:chExt cx="1695457" cy="4968890"/>
            </a:xfrm>
            <a:solidFill>
              <a:schemeClr val="tx1"/>
            </a:solidFill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grpSpPr>
          <p:sp>
            <p:nvSpPr>
              <p:cNvPr id="685" name="Freeform 156">
                <a:extLst>
                  <a:ext uri="{FF2B5EF4-FFF2-40B4-BE49-F238E27FC236}">
                    <a16:creationId xmlns:a16="http://schemas.microsoft.com/office/drawing/2014/main" id="{DE6D1A26-E371-4DC7-97F1-BB0F39FFA48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84626" y="3435360"/>
                <a:ext cx="269878" cy="404813"/>
              </a:xfrm>
              <a:custGeom>
                <a:avLst/>
                <a:gdLst>
                  <a:gd name="T0" fmla="*/ 29 w 72"/>
                  <a:gd name="T1" fmla="*/ 0 h 108"/>
                  <a:gd name="T2" fmla="*/ 37 w 72"/>
                  <a:gd name="T3" fmla="*/ 0 h 108"/>
                  <a:gd name="T4" fmla="*/ 68 w 72"/>
                  <a:gd name="T5" fmla="*/ 6 h 108"/>
                  <a:gd name="T6" fmla="*/ 70 w 72"/>
                  <a:gd name="T7" fmla="*/ 58 h 108"/>
                  <a:gd name="T8" fmla="*/ 60 w 72"/>
                  <a:gd name="T9" fmla="*/ 78 h 108"/>
                  <a:gd name="T10" fmla="*/ 14 w 72"/>
                  <a:gd name="T11" fmla="*/ 108 h 108"/>
                  <a:gd name="T12" fmla="*/ 5 w 72"/>
                  <a:gd name="T13" fmla="*/ 102 h 108"/>
                  <a:gd name="T14" fmla="*/ 13 w 72"/>
                  <a:gd name="T15" fmla="*/ 80 h 108"/>
                  <a:gd name="T16" fmla="*/ 15 w 72"/>
                  <a:gd name="T17" fmla="*/ 6 h 108"/>
                  <a:gd name="T18" fmla="*/ 29 w 72"/>
                  <a:gd name="T19" fmla="*/ 0 h 108"/>
                  <a:gd name="T20" fmla="*/ 28 w 72"/>
                  <a:gd name="T21" fmla="*/ 81 h 108"/>
                  <a:gd name="T22" fmla="*/ 41 w 72"/>
                  <a:gd name="T23" fmla="*/ 53 h 108"/>
                  <a:gd name="T24" fmla="*/ 33 w 72"/>
                  <a:gd name="T25" fmla="*/ 51 h 108"/>
                  <a:gd name="T26" fmla="*/ 28 w 72"/>
                  <a:gd name="T27" fmla="*/ 81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2" h="108">
                    <a:moveTo>
                      <a:pt x="29" y="0"/>
                    </a:moveTo>
                    <a:cubicBezTo>
                      <a:pt x="32" y="0"/>
                      <a:pt x="34" y="0"/>
                      <a:pt x="37" y="0"/>
                    </a:cubicBezTo>
                    <a:cubicBezTo>
                      <a:pt x="45" y="3"/>
                      <a:pt x="60" y="2"/>
                      <a:pt x="68" y="6"/>
                    </a:cubicBezTo>
                    <a:cubicBezTo>
                      <a:pt x="67" y="23"/>
                      <a:pt x="72" y="43"/>
                      <a:pt x="70" y="58"/>
                    </a:cubicBezTo>
                    <a:cubicBezTo>
                      <a:pt x="68" y="65"/>
                      <a:pt x="63" y="72"/>
                      <a:pt x="60" y="78"/>
                    </a:cubicBezTo>
                    <a:cubicBezTo>
                      <a:pt x="49" y="98"/>
                      <a:pt x="39" y="102"/>
                      <a:pt x="14" y="108"/>
                    </a:cubicBezTo>
                    <a:cubicBezTo>
                      <a:pt x="17" y="101"/>
                      <a:pt x="5" y="107"/>
                      <a:pt x="5" y="102"/>
                    </a:cubicBezTo>
                    <a:cubicBezTo>
                      <a:pt x="0" y="90"/>
                      <a:pt x="6" y="87"/>
                      <a:pt x="13" y="80"/>
                    </a:cubicBezTo>
                    <a:cubicBezTo>
                      <a:pt x="15" y="57"/>
                      <a:pt x="13" y="28"/>
                      <a:pt x="15" y="6"/>
                    </a:cubicBezTo>
                    <a:cubicBezTo>
                      <a:pt x="20" y="3"/>
                      <a:pt x="29" y="6"/>
                      <a:pt x="29" y="0"/>
                    </a:cubicBezTo>
                    <a:close/>
                    <a:moveTo>
                      <a:pt x="28" y="81"/>
                    </a:moveTo>
                    <a:cubicBezTo>
                      <a:pt x="41" y="81"/>
                      <a:pt x="43" y="67"/>
                      <a:pt x="41" y="53"/>
                    </a:cubicBezTo>
                    <a:cubicBezTo>
                      <a:pt x="37" y="54"/>
                      <a:pt x="37" y="51"/>
                      <a:pt x="33" y="51"/>
                    </a:cubicBezTo>
                    <a:cubicBezTo>
                      <a:pt x="30" y="61"/>
                      <a:pt x="32" y="75"/>
                      <a:pt x="28" y="8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86" name="Freeform 159">
                <a:extLst>
                  <a:ext uri="{FF2B5EF4-FFF2-40B4-BE49-F238E27FC236}">
                    <a16:creationId xmlns:a16="http://schemas.microsoft.com/office/drawing/2014/main" id="{E0FBC1D5-167A-4CDA-B247-5C43EFDB97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9775" y="5519755"/>
                <a:ext cx="539752" cy="404813"/>
              </a:xfrm>
              <a:custGeom>
                <a:avLst/>
                <a:gdLst>
                  <a:gd name="T0" fmla="*/ 19 w 144"/>
                  <a:gd name="T1" fmla="*/ 0 h 108"/>
                  <a:gd name="T2" fmla="*/ 21 w 144"/>
                  <a:gd name="T3" fmla="*/ 0 h 108"/>
                  <a:gd name="T4" fmla="*/ 55 w 144"/>
                  <a:gd name="T5" fmla="*/ 19 h 108"/>
                  <a:gd name="T6" fmla="*/ 139 w 144"/>
                  <a:gd name="T7" fmla="*/ 47 h 108"/>
                  <a:gd name="T8" fmla="*/ 144 w 144"/>
                  <a:gd name="T9" fmla="*/ 62 h 108"/>
                  <a:gd name="T10" fmla="*/ 144 w 144"/>
                  <a:gd name="T11" fmla="*/ 66 h 108"/>
                  <a:gd name="T12" fmla="*/ 137 w 144"/>
                  <a:gd name="T13" fmla="*/ 88 h 108"/>
                  <a:gd name="T14" fmla="*/ 105 w 144"/>
                  <a:gd name="T15" fmla="*/ 91 h 108"/>
                  <a:gd name="T16" fmla="*/ 100 w 144"/>
                  <a:gd name="T17" fmla="*/ 103 h 108"/>
                  <a:gd name="T18" fmla="*/ 90 w 144"/>
                  <a:gd name="T19" fmla="*/ 108 h 108"/>
                  <a:gd name="T20" fmla="*/ 82 w 144"/>
                  <a:gd name="T21" fmla="*/ 108 h 108"/>
                  <a:gd name="T22" fmla="*/ 31 w 144"/>
                  <a:gd name="T23" fmla="*/ 100 h 108"/>
                  <a:gd name="T24" fmla="*/ 32 w 144"/>
                  <a:gd name="T25" fmla="*/ 73 h 108"/>
                  <a:gd name="T26" fmla="*/ 0 w 144"/>
                  <a:gd name="T27" fmla="*/ 65 h 108"/>
                  <a:gd name="T28" fmla="*/ 0 w 144"/>
                  <a:gd name="T29" fmla="*/ 51 h 108"/>
                  <a:gd name="T30" fmla="*/ 11 w 144"/>
                  <a:gd name="T31" fmla="*/ 12 h 108"/>
                  <a:gd name="T32" fmla="*/ 19 w 144"/>
                  <a:gd name="T33" fmla="*/ 0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4" h="108">
                    <a:moveTo>
                      <a:pt x="19" y="0"/>
                    </a:moveTo>
                    <a:cubicBezTo>
                      <a:pt x="19" y="0"/>
                      <a:pt x="20" y="0"/>
                      <a:pt x="21" y="0"/>
                    </a:cubicBezTo>
                    <a:cubicBezTo>
                      <a:pt x="33" y="7"/>
                      <a:pt x="45" y="13"/>
                      <a:pt x="55" y="19"/>
                    </a:cubicBezTo>
                    <a:cubicBezTo>
                      <a:pt x="92" y="2"/>
                      <a:pt x="120" y="31"/>
                      <a:pt x="139" y="47"/>
                    </a:cubicBezTo>
                    <a:cubicBezTo>
                      <a:pt x="141" y="52"/>
                      <a:pt x="141" y="58"/>
                      <a:pt x="144" y="62"/>
                    </a:cubicBezTo>
                    <a:cubicBezTo>
                      <a:pt x="144" y="63"/>
                      <a:pt x="144" y="65"/>
                      <a:pt x="144" y="66"/>
                    </a:cubicBezTo>
                    <a:cubicBezTo>
                      <a:pt x="142" y="75"/>
                      <a:pt x="141" y="83"/>
                      <a:pt x="137" y="88"/>
                    </a:cubicBezTo>
                    <a:cubicBezTo>
                      <a:pt x="124" y="87"/>
                      <a:pt x="117" y="91"/>
                      <a:pt x="105" y="91"/>
                    </a:cubicBezTo>
                    <a:cubicBezTo>
                      <a:pt x="99" y="91"/>
                      <a:pt x="104" y="101"/>
                      <a:pt x="100" y="103"/>
                    </a:cubicBezTo>
                    <a:cubicBezTo>
                      <a:pt x="96" y="105"/>
                      <a:pt x="91" y="106"/>
                      <a:pt x="90" y="108"/>
                    </a:cubicBezTo>
                    <a:cubicBezTo>
                      <a:pt x="87" y="108"/>
                      <a:pt x="84" y="108"/>
                      <a:pt x="82" y="108"/>
                    </a:cubicBezTo>
                    <a:cubicBezTo>
                      <a:pt x="66" y="105"/>
                      <a:pt x="41" y="108"/>
                      <a:pt x="31" y="100"/>
                    </a:cubicBezTo>
                    <a:cubicBezTo>
                      <a:pt x="27" y="90"/>
                      <a:pt x="33" y="85"/>
                      <a:pt x="32" y="73"/>
                    </a:cubicBezTo>
                    <a:cubicBezTo>
                      <a:pt x="23" y="75"/>
                      <a:pt x="8" y="71"/>
                      <a:pt x="0" y="65"/>
                    </a:cubicBezTo>
                    <a:cubicBezTo>
                      <a:pt x="0" y="61"/>
                      <a:pt x="0" y="56"/>
                      <a:pt x="0" y="51"/>
                    </a:cubicBezTo>
                    <a:cubicBezTo>
                      <a:pt x="6" y="39"/>
                      <a:pt x="14" y="27"/>
                      <a:pt x="11" y="12"/>
                    </a:cubicBezTo>
                    <a:cubicBezTo>
                      <a:pt x="11" y="7"/>
                      <a:pt x="18" y="6"/>
                      <a:pt x="19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87" name="Freeform 160">
                <a:extLst>
                  <a:ext uri="{FF2B5EF4-FFF2-40B4-BE49-F238E27FC236}">
                    <a16:creationId xmlns:a16="http://schemas.microsoft.com/office/drawing/2014/main" id="{73E5C59F-5CAF-46D1-8DAB-C5156BF2EC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014673"/>
                <a:ext cx="1109668" cy="2805120"/>
              </a:xfrm>
              <a:custGeom>
                <a:avLst/>
                <a:gdLst>
                  <a:gd name="T0" fmla="*/ 0 w 296"/>
                  <a:gd name="T1" fmla="*/ 188 h 748"/>
                  <a:gd name="T2" fmla="*/ 0 w 296"/>
                  <a:gd name="T3" fmla="*/ 183 h 748"/>
                  <a:gd name="T4" fmla="*/ 12 w 296"/>
                  <a:gd name="T5" fmla="*/ 166 h 748"/>
                  <a:gd name="T6" fmla="*/ 103 w 296"/>
                  <a:gd name="T7" fmla="*/ 169 h 748"/>
                  <a:gd name="T8" fmla="*/ 143 w 296"/>
                  <a:gd name="T9" fmla="*/ 9 h 748"/>
                  <a:gd name="T10" fmla="*/ 191 w 296"/>
                  <a:gd name="T11" fmla="*/ 11 h 748"/>
                  <a:gd name="T12" fmla="*/ 225 w 296"/>
                  <a:gd name="T13" fmla="*/ 112 h 748"/>
                  <a:gd name="T14" fmla="*/ 245 w 296"/>
                  <a:gd name="T15" fmla="*/ 133 h 748"/>
                  <a:gd name="T16" fmla="*/ 268 w 296"/>
                  <a:gd name="T17" fmla="*/ 153 h 748"/>
                  <a:gd name="T18" fmla="*/ 296 w 296"/>
                  <a:gd name="T19" fmla="*/ 153 h 748"/>
                  <a:gd name="T20" fmla="*/ 275 w 296"/>
                  <a:gd name="T21" fmla="*/ 276 h 748"/>
                  <a:gd name="T22" fmla="*/ 268 w 296"/>
                  <a:gd name="T23" fmla="*/ 288 h 748"/>
                  <a:gd name="T24" fmla="*/ 264 w 296"/>
                  <a:gd name="T25" fmla="*/ 303 h 748"/>
                  <a:gd name="T26" fmla="*/ 253 w 296"/>
                  <a:gd name="T27" fmla="*/ 328 h 748"/>
                  <a:gd name="T28" fmla="*/ 256 w 296"/>
                  <a:gd name="T29" fmla="*/ 354 h 748"/>
                  <a:gd name="T30" fmla="*/ 252 w 296"/>
                  <a:gd name="T31" fmla="*/ 418 h 748"/>
                  <a:gd name="T32" fmla="*/ 249 w 296"/>
                  <a:gd name="T33" fmla="*/ 514 h 748"/>
                  <a:gd name="T34" fmla="*/ 237 w 296"/>
                  <a:gd name="T35" fmla="*/ 577 h 748"/>
                  <a:gd name="T36" fmla="*/ 223 w 296"/>
                  <a:gd name="T37" fmla="*/ 604 h 748"/>
                  <a:gd name="T38" fmla="*/ 215 w 296"/>
                  <a:gd name="T39" fmla="*/ 633 h 748"/>
                  <a:gd name="T40" fmla="*/ 207 w 296"/>
                  <a:gd name="T41" fmla="*/ 662 h 748"/>
                  <a:gd name="T42" fmla="*/ 222 w 296"/>
                  <a:gd name="T43" fmla="*/ 707 h 748"/>
                  <a:gd name="T44" fmla="*/ 182 w 296"/>
                  <a:gd name="T45" fmla="*/ 689 h 748"/>
                  <a:gd name="T46" fmla="*/ 122 w 296"/>
                  <a:gd name="T47" fmla="*/ 748 h 748"/>
                  <a:gd name="T48" fmla="*/ 114 w 296"/>
                  <a:gd name="T49" fmla="*/ 677 h 748"/>
                  <a:gd name="T50" fmla="*/ 97 w 296"/>
                  <a:gd name="T51" fmla="*/ 672 h 748"/>
                  <a:gd name="T52" fmla="*/ 97 w 296"/>
                  <a:gd name="T53" fmla="*/ 609 h 748"/>
                  <a:gd name="T54" fmla="*/ 86 w 296"/>
                  <a:gd name="T55" fmla="*/ 588 h 748"/>
                  <a:gd name="T56" fmla="*/ 64 w 296"/>
                  <a:gd name="T57" fmla="*/ 525 h 748"/>
                  <a:gd name="T58" fmla="*/ 35 w 296"/>
                  <a:gd name="T59" fmla="*/ 383 h 748"/>
                  <a:gd name="T60" fmla="*/ 19 w 296"/>
                  <a:gd name="T61" fmla="*/ 285 h 748"/>
                  <a:gd name="T62" fmla="*/ 0 w 296"/>
                  <a:gd name="T63" fmla="*/ 188 h 7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96" h="748">
                    <a:moveTo>
                      <a:pt x="0" y="188"/>
                    </a:moveTo>
                    <a:cubicBezTo>
                      <a:pt x="0" y="186"/>
                      <a:pt x="0" y="185"/>
                      <a:pt x="0" y="183"/>
                    </a:cubicBezTo>
                    <a:cubicBezTo>
                      <a:pt x="6" y="178"/>
                      <a:pt x="6" y="168"/>
                      <a:pt x="12" y="166"/>
                    </a:cubicBezTo>
                    <a:cubicBezTo>
                      <a:pt x="37" y="176"/>
                      <a:pt x="73" y="176"/>
                      <a:pt x="103" y="169"/>
                    </a:cubicBezTo>
                    <a:cubicBezTo>
                      <a:pt x="116" y="117"/>
                      <a:pt x="127" y="60"/>
                      <a:pt x="143" y="9"/>
                    </a:cubicBezTo>
                    <a:cubicBezTo>
                      <a:pt x="158" y="0"/>
                      <a:pt x="177" y="2"/>
                      <a:pt x="191" y="11"/>
                    </a:cubicBezTo>
                    <a:cubicBezTo>
                      <a:pt x="204" y="36"/>
                      <a:pt x="210" y="83"/>
                      <a:pt x="225" y="112"/>
                    </a:cubicBezTo>
                    <a:cubicBezTo>
                      <a:pt x="229" y="119"/>
                      <a:pt x="237" y="125"/>
                      <a:pt x="245" y="133"/>
                    </a:cubicBezTo>
                    <a:cubicBezTo>
                      <a:pt x="252" y="140"/>
                      <a:pt x="260" y="152"/>
                      <a:pt x="268" y="153"/>
                    </a:cubicBezTo>
                    <a:cubicBezTo>
                      <a:pt x="277" y="155"/>
                      <a:pt x="286" y="149"/>
                      <a:pt x="296" y="153"/>
                    </a:cubicBezTo>
                    <a:cubicBezTo>
                      <a:pt x="291" y="195"/>
                      <a:pt x="275" y="228"/>
                      <a:pt x="275" y="276"/>
                    </a:cubicBezTo>
                    <a:cubicBezTo>
                      <a:pt x="273" y="281"/>
                      <a:pt x="269" y="281"/>
                      <a:pt x="268" y="288"/>
                    </a:cubicBezTo>
                    <a:cubicBezTo>
                      <a:pt x="265" y="291"/>
                      <a:pt x="265" y="298"/>
                      <a:pt x="264" y="303"/>
                    </a:cubicBezTo>
                    <a:cubicBezTo>
                      <a:pt x="261" y="312"/>
                      <a:pt x="253" y="318"/>
                      <a:pt x="253" y="328"/>
                    </a:cubicBezTo>
                    <a:cubicBezTo>
                      <a:pt x="252" y="336"/>
                      <a:pt x="256" y="345"/>
                      <a:pt x="256" y="354"/>
                    </a:cubicBezTo>
                    <a:cubicBezTo>
                      <a:pt x="258" y="380"/>
                      <a:pt x="258" y="399"/>
                      <a:pt x="252" y="418"/>
                    </a:cubicBezTo>
                    <a:cubicBezTo>
                      <a:pt x="266" y="448"/>
                      <a:pt x="257" y="479"/>
                      <a:pt x="249" y="514"/>
                    </a:cubicBezTo>
                    <a:cubicBezTo>
                      <a:pt x="245" y="536"/>
                      <a:pt x="243" y="559"/>
                      <a:pt x="237" y="577"/>
                    </a:cubicBezTo>
                    <a:cubicBezTo>
                      <a:pt x="233" y="586"/>
                      <a:pt x="227" y="595"/>
                      <a:pt x="223" y="604"/>
                    </a:cubicBezTo>
                    <a:cubicBezTo>
                      <a:pt x="220" y="611"/>
                      <a:pt x="218" y="623"/>
                      <a:pt x="215" y="633"/>
                    </a:cubicBezTo>
                    <a:cubicBezTo>
                      <a:pt x="212" y="644"/>
                      <a:pt x="207" y="656"/>
                      <a:pt x="207" y="662"/>
                    </a:cubicBezTo>
                    <a:cubicBezTo>
                      <a:pt x="208" y="675"/>
                      <a:pt x="224" y="690"/>
                      <a:pt x="222" y="707"/>
                    </a:cubicBezTo>
                    <a:cubicBezTo>
                      <a:pt x="203" y="705"/>
                      <a:pt x="197" y="690"/>
                      <a:pt x="182" y="689"/>
                    </a:cubicBezTo>
                    <a:cubicBezTo>
                      <a:pt x="141" y="688"/>
                      <a:pt x="137" y="726"/>
                      <a:pt x="122" y="748"/>
                    </a:cubicBezTo>
                    <a:cubicBezTo>
                      <a:pt x="120" y="724"/>
                      <a:pt x="115" y="702"/>
                      <a:pt x="114" y="677"/>
                    </a:cubicBezTo>
                    <a:cubicBezTo>
                      <a:pt x="108" y="676"/>
                      <a:pt x="99" y="684"/>
                      <a:pt x="97" y="672"/>
                    </a:cubicBezTo>
                    <a:cubicBezTo>
                      <a:pt x="64" y="661"/>
                      <a:pt x="98" y="627"/>
                      <a:pt x="97" y="609"/>
                    </a:cubicBezTo>
                    <a:cubicBezTo>
                      <a:pt x="97" y="602"/>
                      <a:pt x="90" y="595"/>
                      <a:pt x="86" y="588"/>
                    </a:cubicBezTo>
                    <a:cubicBezTo>
                      <a:pt x="74" y="569"/>
                      <a:pt x="70" y="549"/>
                      <a:pt x="64" y="525"/>
                    </a:cubicBezTo>
                    <a:cubicBezTo>
                      <a:pt x="52" y="479"/>
                      <a:pt x="45" y="432"/>
                      <a:pt x="35" y="383"/>
                    </a:cubicBezTo>
                    <a:cubicBezTo>
                      <a:pt x="28" y="351"/>
                      <a:pt x="22" y="318"/>
                      <a:pt x="19" y="285"/>
                    </a:cubicBezTo>
                    <a:cubicBezTo>
                      <a:pt x="18" y="251"/>
                      <a:pt x="7" y="214"/>
                      <a:pt x="0" y="188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88" name="Freeform 179">
                <a:extLst>
                  <a:ext uri="{FF2B5EF4-FFF2-40B4-BE49-F238E27FC236}">
                    <a16:creationId xmlns:a16="http://schemas.microsoft.com/office/drawing/2014/main" id="{61C38BC6-E36C-40CD-9F9F-491DD6DFE0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4413" y="3113098"/>
                <a:ext cx="452441" cy="569916"/>
              </a:xfrm>
              <a:custGeom>
                <a:avLst/>
                <a:gdLst>
                  <a:gd name="T0" fmla="*/ 0 w 285"/>
                  <a:gd name="T1" fmla="*/ 0 h 359"/>
                  <a:gd name="T2" fmla="*/ 14 w 285"/>
                  <a:gd name="T3" fmla="*/ 96 h 359"/>
                  <a:gd name="T4" fmla="*/ 108 w 285"/>
                  <a:gd name="T5" fmla="*/ 330 h 359"/>
                  <a:gd name="T6" fmla="*/ 285 w 285"/>
                  <a:gd name="T7" fmla="*/ 359 h 359"/>
                  <a:gd name="T8" fmla="*/ 285 w 285"/>
                  <a:gd name="T9" fmla="*/ 311 h 359"/>
                  <a:gd name="T10" fmla="*/ 0 w 285"/>
                  <a:gd name="T11" fmla="*/ 0 h 3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5" h="359">
                    <a:moveTo>
                      <a:pt x="0" y="0"/>
                    </a:moveTo>
                    <a:lnTo>
                      <a:pt x="14" y="96"/>
                    </a:lnTo>
                    <a:lnTo>
                      <a:pt x="108" y="330"/>
                    </a:lnTo>
                    <a:lnTo>
                      <a:pt x="285" y="359"/>
                    </a:lnTo>
                    <a:lnTo>
                      <a:pt x="285" y="31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89" name="Freeform 180">
                <a:extLst>
                  <a:ext uri="{FF2B5EF4-FFF2-40B4-BE49-F238E27FC236}">
                    <a16:creationId xmlns:a16="http://schemas.microsoft.com/office/drawing/2014/main" id="{17AA2AFC-3978-45F1-B4DA-8C0F18B91E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146435"/>
                <a:ext cx="592139" cy="619126"/>
              </a:xfrm>
              <a:custGeom>
                <a:avLst/>
                <a:gdLst>
                  <a:gd name="T0" fmla="*/ 158 w 158"/>
                  <a:gd name="T1" fmla="*/ 0 h 165"/>
                  <a:gd name="T2" fmla="*/ 158 w 158"/>
                  <a:gd name="T3" fmla="*/ 80 h 165"/>
                  <a:gd name="T4" fmla="*/ 113 w 158"/>
                  <a:gd name="T5" fmla="*/ 158 h 165"/>
                  <a:gd name="T6" fmla="*/ 23 w 158"/>
                  <a:gd name="T7" fmla="*/ 156 h 165"/>
                  <a:gd name="T8" fmla="*/ 0 w 158"/>
                  <a:gd name="T9" fmla="*/ 148 h 165"/>
                  <a:gd name="T10" fmla="*/ 87 w 158"/>
                  <a:gd name="T11" fmla="*/ 137 h 165"/>
                  <a:gd name="T12" fmla="*/ 158 w 158"/>
                  <a:gd name="T13" fmla="*/ 0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8" h="165">
                    <a:moveTo>
                      <a:pt x="158" y="0"/>
                    </a:moveTo>
                    <a:cubicBezTo>
                      <a:pt x="158" y="80"/>
                      <a:pt x="158" y="80"/>
                      <a:pt x="158" y="80"/>
                    </a:cubicBezTo>
                    <a:cubicBezTo>
                      <a:pt x="158" y="80"/>
                      <a:pt x="139" y="165"/>
                      <a:pt x="113" y="158"/>
                    </a:cubicBezTo>
                    <a:cubicBezTo>
                      <a:pt x="87" y="152"/>
                      <a:pt x="26" y="157"/>
                      <a:pt x="23" y="156"/>
                    </a:cubicBezTo>
                    <a:cubicBezTo>
                      <a:pt x="20" y="156"/>
                      <a:pt x="0" y="148"/>
                      <a:pt x="0" y="148"/>
                    </a:cubicBezTo>
                    <a:cubicBezTo>
                      <a:pt x="0" y="148"/>
                      <a:pt x="82" y="138"/>
                      <a:pt x="87" y="137"/>
                    </a:cubicBezTo>
                    <a:cubicBezTo>
                      <a:pt x="92" y="136"/>
                      <a:pt x="158" y="0"/>
                      <a:pt x="1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90" name="Freeform 181">
                <a:extLst>
                  <a:ext uri="{FF2B5EF4-FFF2-40B4-BE49-F238E27FC236}">
                    <a16:creationId xmlns:a16="http://schemas.microsoft.com/office/drawing/2014/main" id="{5E9A6ABE-D82E-4107-9297-19BE4A55D5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9813" y="3446473"/>
                <a:ext cx="63501" cy="423863"/>
              </a:xfrm>
              <a:custGeom>
                <a:avLst/>
                <a:gdLst>
                  <a:gd name="T0" fmla="*/ 0 w 40"/>
                  <a:gd name="T1" fmla="*/ 0 h 267"/>
                  <a:gd name="T2" fmla="*/ 0 w 40"/>
                  <a:gd name="T3" fmla="*/ 267 h 267"/>
                  <a:gd name="T4" fmla="*/ 40 w 40"/>
                  <a:gd name="T5" fmla="*/ 260 h 267"/>
                  <a:gd name="T6" fmla="*/ 0 w 40"/>
                  <a:gd name="T7" fmla="*/ 0 h 2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0" h="267">
                    <a:moveTo>
                      <a:pt x="0" y="0"/>
                    </a:moveTo>
                    <a:lnTo>
                      <a:pt x="0" y="267"/>
                    </a:lnTo>
                    <a:lnTo>
                      <a:pt x="40" y="26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91" name="Freeform 182">
                <a:extLst>
                  <a:ext uri="{FF2B5EF4-FFF2-40B4-BE49-F238E27FC236}">
                    <a16:creationId xmlns:a16="http://schemas.microsoft.com/office/drawing/2014/main" id="{63ACB899-A0D5-4345-90A8-741BE9B481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48036" y="3884623"/>
                <a:ext cx="217490" cy="1497016"/>
              </a:xfrm>
              <a:custGeom>
                <a:avLst/>
                <a:gdLst>
                  <a:gd name="T0" fmla="*/ 58 w 58"/>
                  <a:gd name="T1" fmla="*/ 0 h 399"/>
                  <a:gd name="T2" fmla="*/ 6 w 58"/>
                  <a:gd name="T3" fmla="*/ 369 h 399"/>
                  <a:gd name="T4" fmla="*/ 0 w 58"/>
                  <a:gd name="T5" fmla="*/ 399 h 399"/>
                  <a:gd name="T6" fmla="*/ 34 w 58"/>
                  <a:gd name="T7" fmla="*/ 312 h 399"/>
                  <a:gd name="T8" fmla="*/ 29 w 58"/>
                  <a:gd name="T9" fmla="*/ 255 h 399"/>
                  <a:gd name="T10" fmla="*/ 48 w 58"/>
                  <a:gd name="T11" fmla="*/ 139 h 399"/>
                  <a:gd name="T12" fmla="*/ 58 w 58"/>
                  <a:gd name="T13" fmla="*/ 0 h 3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8" h="399">
                    <a:moveTo>
                      <a:pt x="58" y="0"/>
                    </a:moveTo>
                    <a:cubicBezTo>
                      <a:pt x="6" y="369"/>
                      <a:pt x="6" y="369"/>
                      <a:pt x="6" y="369"/>
                    </a:cubicBezTo>
                    <a:cubicBezTo>
                      <a:pt x="0" y="399"/>
                      <a:pt x="0" y="399"/>
                      <a:pt x="0" y="399"/>
                    </a:cubicBezTo>
                    <a:cubicBezTo>
                      <a:pt x="0" y="399"/>
                      <a:pt x="36" y="342"/>
                      <a:pt x="34" y="312"/>
                    </a:cubicBezTo>
                    <a:cubicBezTo>
                      <a:pt x="32" y="282"/>
                      <a:pt x="28" y="282"/>
                      <a:pt x="29" y="255"/>
                    </a:cubicBezTo>
                    <a:cubicBezTo>
                      <a:pt x="31" y="227"/>
                      <a:pt x="46" y="145"/>
                      <a:pt x="48" y="139"/>
                    </a:cubicBezTo>
                    <a:cubicBezTo>
                      <a:pt x="50" y="132"/>
                      <a:pt x="58" y="0"/>
                      <a:pt x="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92" name="Freeform 183">
                <a:extLst>
                  <a:ext uri="{FF2B5EF4-FFF2-40B4-BE49-F238E27FC236}">
                    <a16:creationId xmlns:a16="http://schemas.microsoft.com/office/drawing/2014/main" id="{720A8926-091A-4EF6-B17D-0358B7A8A7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3802" y="4038612"/>
                <a:ext cx="231777" cy="385763"/>
              </a:xfrm>
              <a:custGeom>
                <a:avLst/>
                <a:gdLst>
                  <a:gd name="T0" fmla="*/ 62 w 62"/>
                  <a:gd name="T1" fmla="*/ 0 h 103"/>
                  <a:gd name="T2" fmla="*/ 35 w 62"/>
                  <a:gd name="T3" fmla="*/ 31 h 103"/>
                  <a:gd name="T4" fmla="*/ 27 w 62"/>
                  <a:gd name="T5" fmla="*/ 66 h 103"/>
                  <a:gd name="T6" fmla="*/ 6 w 62"/>
                  <a:gd name="T7" fmla="*/ 79 h 103"/>
                  <a:gd name="T8" fmla="*/ 23 w 62"/>
                  <a:gd name="T9" fmla="*/ 30 h 103"/>
                  <a:gd name="T10" fmla="*/ 62 w 62"/>
                  <a:gd name="T11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2" h="103">
                    <a:moveTo>
                      <a:pt x="62" y="0"/>
                    </a:moveTo>
                    <a:cubicBezTo>
                      <a:pt x="62" y="0"/>
                      <a:pt x="37" y="20"/>
                      <a:pt x="35" y="31"/>
                    </a:cubicBezTo>
                    <a:cubicBezTo>
                      <a:pt x="33" y="42"/>
                      <a:pt x="25" y="75"/>
                      <a:pt x="27" y="66"/>
                    </a:cubicBezTo>
                    <a:cubicBezTo>
                      <a:pt x="28" y="58"/>
                      <a:pt x="0" y="103"/>
                      <a:pt x="6" y="79"/>
                    </a:cubicBezTo>
                    <a:cubicBezTo>
                      <a:pt x="12" y="55"/>
                      <a:pt x="14" y="48"/>
                      <a:pt x="23" y="30"/>
                    </a:cubicBezTo>
                    <a:cubicBezTo>
                      <a:pt x="33" y="12"/>
                      <a:pt x="62" y="0"/>
                      <a:pt x="62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93" name="Freeform 184">
                <a:extLst>
                  <a:ext uri="{FF2B5EF4-FFF2-40B4-BE49-F238E27FC236}">
                    <a16:creationId xmlns:a16="http://schemas.microsoft.com/office/drawing/2014/main" id="{D3719C7E-4F49-46D7-9F8B-492D49EBD5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5862" y="4581537"/>
                <a:ext cx="153989" cy="434977"/>
              </a:xfrm>
              <a:custGeom>
                <a:avLst/>
                <a:gdLst>
                  <a:gd name="T0" fmla="*/ 41 w 41"/>
                  <a:gd name="T1" fmla="*/ 0 h 116"/>
                  <a:gd name="T2" fmla="*/ 25 w 41"/>
                  <a:gd name="T3" fmla="*/ 47 h 116"/>
                  <a:gd name="T4" fmla="*/ 7 w 41"/>
                  <a:gd name="T5" fmla="*/ 85 h 116"/>
                  <a:gd name="T6" fmla="*/ 36 w 41"/>
                  <a:gd name="T7" fmla="*/ 0 h 116"/>
                  <a:gd name="T8" fmla="*/ 41 w 41"/>
                  <a:gd name="T9" fmla="*/ 0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116">
                    <a:moveTo>
                      <a:pt x="41" y="0"/>
                    </a:moveTo>
                    <a:cubicBezTo>
                      <a:pt x="38" y="8"/>
                      <a:pt x="33" y="18"/>
                      <a:pt x="25" y="47"/>
                    </a:cubicBezTo>
                    <a:cubicBezTo>
                      <a:pt x="17" y="75"/>
                      <a:pt x="0" y="116"/>
                      <a:pt x="7" y="85"/>
                    </a:cubicBezTo>
                    <a:cubicBezTo>
                      <a:pt x="15" y="53"/>
                      <a:pt x="31" y="0"/>
                      <a:pt x="36" y="0"/>
                    </a:cubicBezTo>
                    <a:cubicBezTo>
                      <a:pt x="41" y="0"/>
                      <a:pt x="41" y="0"/>
                      <a:pt x="41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94" name="Freeform 185">
                <a:extLst>
                  <a:ext uri="{FF2B5EF4-FFF2-40B4-BE49-F238E27FC236}">
                    <a16:creationId xmlns:a16="http://schemas.microsoft.com/office/drawing/2014/main" id="{C7299639-1F37-4539-B81E-E8D60F9B02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5988" y="5470541"/>
                <a:ext cx="274638" cy="165099"/>
              </a:xfrm>
              <a:custGeom>
                <a:avLst/>
                <a:gdLst>
                  <a:gd name="T0" fmla="*/ 0 w 73"/>
                  <a:gd name="T1" fmla="*/ 41 h 44"/>
                  <a:gd name="T2" fmla="*/ 37 w 73"/>
                  <a:gd name="T3" fmla="*/ 29 h 44"/>
                  <a:gd name="T4" fmla="*/ 68 w 73"/>
                  <a:gd name="T5" fmla="*/ 29 h 44"/>
                  <a:gd name="T6" fmla="*/ 50 w 73"/>
                  <a:gd name="T7" fmla="*/ 0 h 44"/>
                  <a:gd name="T8" fmla="*/ 0 w 73"/>
                  <a:gd name="T9" fmla="*/ 41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3" h="44">
                    <a:moveTo>
                      <a:pt x="0" y="41"/>
                    </a:moveTo>
                    <a:cubicBezTo>
                      <a:pt x="0" y="41"/>
                      <a:pt x="8" y="27"/>
                      <a:pt x="37" y="29"/>
                    </a:cubicBezTo>
                    <a:cubicBezTo>
                      <a:pt x="65" y="31"/>
                      <a:pt x="66" y="44"/>
                      <a:pt x="68" y="29"/>
                    </a:cubicBezTo>
                    <a:cubicBezTo>
                      <a:pt x="70" y="14"/>
                      <a:pt x="73" y="0"/>
                      <a:pt x="50" y="0"/>
                    </a:cubicBezTo>
                    <a:cubicBezTo>
                      <a:pt x="27" y="0"/>
                      <a:pt x="0" y="41"/>
                      <a:pt x="0" y="4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95" name="Freeform 186">
                <a:extLst>
                  <a:ext uri="{FF2B5EF4-FFF2-40B4-BE49-F238E27FC236}">
                    <a16:creationId xmlns:a16="http://schemas.microsoft.com/office/drawing/2014/main" id="{7359CDCE-011C-4485-B3DF-AAD97A47BB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5111766"/>
                <a:ext cx="139699" cy="265114"/>
              </a:xfrm>
              <a:custGeom>
                <a:avLst/>
                <a:gdLst>
                  <a:gd name="T0" fmla="*/ 16 w 37"/>
                  <a:gd name="T1" fmla="*/ 2 h 71"/>
                  <a:gd name="T2" fmla="*/ 31 w 37"/>
                  <a:gd name="T3" fmla="*/ 31 h 71"/>
                  <a:gd name="T4" fmla="*/ 24 w 37"/>
                  <a:gd name="T5" fmla="*/ 42 h 71"/>
                  <a:gd name="T6" fmla="*/ 3 w 37"/>
                  <a:gd name="T7" fmla="*/ 7 h 71"/>
                  <a:gd name="T8" fmla="*/ 16 w 37"/>
                  <a:gd name="T9" fmla="*/ 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71">
                    <a:moveTo>
                      <a:pt x="16" y="2"/>
                    </a:moveTo>
                    <a:cubicBezTo>
                      <a:pt x="24" y="6"/>
                      <a:pt x="32" y="19"/>
                      <a:pt x="31" y="31"/>
                    </a:cubicBezTo>
                    <a:cubicBezTo>
                      <a:pt x="30" y="43"/>
                      <a:pt x="37" y="71"/>
                      <a:pt x="24" y="42"/>
                    </a:cubicBezTo>
                    <a:cubicBezTo>
                      <a:pt x="11" y="14"/>
                      <a:pt x="0" y="14"/>
                      <a:pt x="3" y="7"/>
                    </a:cubicBezTo>
                    <a:cubicBezTo>
                      <a:pt x="6" y="0"/>
                      <a:pt x="16" y="2"/>
                      <a:pt x="16" y="2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96" name="Freeform 187">
                <a:extLst>
                  <a:ext uri="{FF2B5EF4-FFF2-40B4-BE49-F238E27FC236}">
                    <a16:creationId xmlns:a16="http://schemas.microsoft.com/office/drawing/2014/main" id="{E680F0AE-9027-4E3F-A82F-FE5A5FE6A8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4" y="4159261"/>
                <a:ext cx="322265" cy="741365"/>
              </a:xfrm>
              <a:custGeom>
                <a:avLst/>
                <a:gdLst>
                  <a:gd name="T0" fmla="*/ 0 w 86"/>
                  <a:gd name="T1" fmla="*/ 0 h 198"/>
                  <a:gd name="T2" fmla="*/ 38 w 86"/>
                  <a:gd name="T3" fmla="*/ 16 h 198"/>
                  <a:gd name="T4" fmla="*/ 51 w 86"/>
                  <a:gd name="T5" fmla="*/ 54 h 198"/>
                  <a:gd name="T6" fmla="*/ 36 w 86"/>
                  <a:gd name="T7" fmla="*/ 54 h 198"/>
                  <a:gd name="T8" fmla="*/ 70 w 86"/>
                  <a:gd name="T9" fmla="*/ 161 h 198"/>
                  <a:gd name="T10" fmla="*/ 37 w 86"/>
                  <a:gd name="T11" fmla="*/ 132 h 198"/>
                  <a:gd name="T12" fmla="*/ 36 w 86"/>
                  <a:gd name="T13" fmla="*/ 198 h 198"/>
                  <a:gd name="T14" fmla="*/ 16 w 86"/>
                  <a:gd name="T15" fmla="*/ 96 h 198"/>
                  <a:gd name="T16" fmla="*/ 0 w 86"/>
                  <a:gd name="T17" fmla="*/ 28 h 198"/>
                  <a:gd name="T18" fmla="*/ 0 w 86"/>
                  <a:gd name="T19" fmla="*/ 0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6" h="198">
                    <a:moveTo>
                      <a:pt x="0" y="0"/>
                    </a:moveTo>
                    <a:cubicBezTo>
                      <a:pt x="0" y="0"/>
                      <a:pt x="32" y="2"/>
                      <a:pt x="38" y="16"/>
                    </a:cubicBezTo>
                    <a:cubicBezTo>
                      <a:pt x="44" y="31"/>
                      <a:pt x="66" y="67"/>
                      <a:pt x="51" y="54"/>
                    </a:cubicBezTo>
                    <a:cubicBezTo>
                      <a:pt x="36" y="41"/>
                      <a:pt x="17" y="24"/>
                      <a:pt x="36" y="54"/>
                    </a:cubicBezTo>
                    <a:cubicBezTo>
                      <a:pt x="54" y="84"/>
                      <a:pt x="86" y="181"/>
                      <a:pt x="70" y="161"/>
                    </a:cubicBezTo>
                    <a:cubicBezTo>
                      <a:pt x="55" y="141"/>
                      <a:pt x="39" y="108"/>
                      <a:pt x="37" y="132"/>
                    </a:cubicBezTo>
                    <a:cubicBezTo>
                      <a:pt x="36" y="156"/>
                      <a:pt x="36" y="198"/>
                      <a:pt x="36" y="198"/>
                    </a:cubicBezTo>
                    <a:cubicBezTo>
                      <a:pt x="16" y="96"/>
                      <a:pt x="16" y="96"/>
                      <a:pt x="16" y="96"/>
                    </a:cubicBezTo>
                    <a:cubicBezTo>
                      <a:pt x="0" y="28"/>
                      <a:pt x="0" y="28"/>
                      <a:pt x="0" y="28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97" name="Freeform 157">
                <a:extLst>
                  <a:ext uri="{FF2B5EF4-FFF2-40B4-BE49-F238E27FC236}">
                    <a16:creationId xmlns:a16="http://schemas.microsoft.com/office/drawing/2014/main" id="{C8F444DA-E3CE-4AE3-BE67-DE7F6CC299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5160" y="960441"/>
                <a:ext cx="584203" cy="1049339"/>
              </a:xfrm>
              <a:custGeom>
                <a:avLst/>
                <a:gdLst>
                  <a:gd name="T0" fmla="*/ 0 w 156"/>
                  <a:gd name="T1" fmla="*/ 112 h 280"/>
                  <a:gd name="T2" fmla="*/ 0 w 156"/>
                  <a:gd name="T3" fmla="*/ 104 h 280"/>
                  <a:gd name="T4" fmla="*/ 11 w 156"/>
                  <a:gd name="T5" fmla="*/ 96 h 280"/>
                  <a:gd name="T6" fmla="*/ 4 w 156"/>
                  <a:gd name="T7" fmla="*/ 46 h 280"/>
                  <a:gd name="T8" fmla="*/ 28 w 156"/>
                  <a:gd name="T9" fmla="*/ 22 h 280"/>
                  <a:gd name="T10" fmla="*/ 59 w 156"/>
                  <a:gd name="T11" fmla="*/ 4 h 280"/>
                  <a:gd name="T12" fmla="*/ 108 w 156"/>
                  <a:gd name="T13" fmla="*/ 6 h 280"/>
                  <a:gd name="T14" fmla="*/ 138 w 156"/>
                  <a:gd name="T15" fmla="*/ 93 h 280"/>
                  <a:gd name="T16" fmla="*/ 143 w 156"/>
                  <a:gd name="T17" fmla="*/ 99 h 280"/>
                  <a:gd name="T18" fmla="*/ 131 w 156"/>
                  <a:gd name="T19" fmla="*/ 140 h 280"/>
                  <a:gd name="T20" fmla="*/ 122 w 156"/>
                  <a:gd name="T21" fmla="*/ 147 h 280"/>
                  <a:gd name="T22" fmla="*/ 114 w 156"/>
                  <a:gd name="T23" fmla="*/ 215 h 280"/>
                  <a:gd name="T24" fmla="*/ 80 w 156"/>
                  <a:gd name="T25" fmla="*/ 280 h 280"/>
                  <a:gd name="T26" fmla="*/ 56 w 156"/>
                  <a:gd name="T27" fmla="*/ 267 h 280"/>
                  <a:gd name="T28" fmla="*/ 44 w 156"/>
                  <a:gd name="T29" fmla="*/ 241 h 280"/>
                  <a:gd name="T30" fmla="*/ 24 w 156"/>
                  <a:gd name="T31" fmla="*/ 188 h 280"/>
                  <a:gd name="T32" fmla="*/ 24 w 156"/>
                  <a:gd name="T33" fmla="*/ 150 h 280"/>
                  <a:gd name="T34" fmla="*/ 12 w 156"/>
                  <a:gd name="T35" fmla="*/ 137 h 280"/>
                  <a:gd name="T36" fmla="*/ 0 w 156"/>
                  <a:gd name="T37" fmla="*/ 112 h 2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56" h="280">
                    <a:moveTo>
                      <a:pt x="0" y="112"/>
                    </a:moveTo>
                    <a:cubicBezTo>
                      <a:pt x="0" y="109"/>
                      <a:pt x="0" y="107"/>
                      <a:pt x="0" y="104"/>
                    </a:cubicBezTo>
                    <a:cubicBezTo>
                      <a:pt x="3" y="101"/>
                      <a:pt x="3" y="94"/>
                      <a:pt x="11" y="96"/>
                    </a:cubicBezTo>
                    <a:cubicBezTo>
                      <a:pt x="6" y="80"/>
                      <a:pt x="6" y="64"/>
                      <a:pt x="4" y="46"/>
                    </a:cubicBezTo>
                    <a:cubicBezTo>
                      <a:pt x="8" y="36"/>
                      <a:pt x="19" y="30"/>
                      <a:pt x="28" y="22"/>
                    </a:cubicBezTo>
                    <a:cubicBezTo>
                      <a:pt x="38" y="16"/>
                      <a:pt x="47" y="7"/>
                      <a:pt x="59" y="4"/>
                    </a:cubicBezTo>
                    <a:cubicBezTo>
                      <a:pt x="72" y="0"/>
                      <a:pt x="89" y="6"/>
                      <a:pt x="108" y="6"/>
                    </a:cubicBezTo>
                    <a:cubicBezTo>
                      <a:pt x="134" y="19"/>
                      <a:pt x="156" y="55"/>
                      <a:pt x="138" y="93"/>
                    </a:cubicBezTo>
                    <a:cubicBezTo>
                      <a:pt x="137" y="97"/>
                      <a:pt x="145" y="96"/>
                      <a:pt x="143" y="99"/>
                    </a:cubicBezTo>
                    <a:cubicBezTo>
                      <a:pt x="149" y="115"/>
                      <a:pt x="135" y="128"/>
                      <a:pt x="131" y="140"/>
                    </a:cubicBezTo>
                    <a:cubicBezTo>
                      <a:pt x="130" y="142"/>
                      <a:pt x="126" y="146"/>
                      <a:pt x="122" y="147"/>
                    </a:cubicBezTo>
                    <a:cubicBezTo>
                      <a:pt x="122" y="170"/>
                      <a:pt x="121" y="196"/>
                      <a:pt x="114" y="215"/>
                    </a:cubicBezTo>
                    <a:cubicBezTo>
                      <a:pt x="108" y="240"/>
                      <a:pt x="102" y="273"/>
                      <a:pt x="80" y="280"/>
                    </a:cubicBezTo>
                    <a:cubicBezTo>
                      <a:pt x="72" y="274"/>
                      <a:pt x="61" y="274"/>
                      <a:pt x="56" y="267"/>
                    </a:cubicBezTo>
                    <a:cubicBezTo>
                      <a:pt x="51" y="260"/>
                      <a:pt x="48" y="249"/>
                      <a:pt x="44" y="241"/>
                    </a:cubicBezTo>
                    <a:cubicBezTo>
                      <a:pt x="38" y="226"/>
                      <a:pt x="27" y="204"/>
                      <a:pt x="24" y="188"/>
                    </a:cubicBezTo>
                    <a:cubicBezTo>
                      <a:pt x="22" y="175"/>
                      <a:pt x="27" y="161"/>
                      <a:pt x="24" y="150"/>
                    </a:cubicBezTo>
                    <a:cubicBezTo>
                      <a:pt x="22" y="140"/>
                      <a:pt x="18" y="144"/>
                      <a:pt x="12" y="137"/>
                    </a:cubicBezTo>
                    <a:cubicBezTo>
                      <a:pt x="7" y="130"/>
                      <a:pt x="4" y="118"/>
                      <a:pt x="0" y="112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98" name="Freeform 158">
                <a:extLst>
                  <a:ext uri="{FF2B5EF4-FFF2-40B4-BE49-F238E27FC236}">
                    <a16:creationId xmlns:a16="http://schemas.microsoft.com/office/drawing/2014/main" id="{3EFCAF59-1850-4026-BCBE-131E541DE7D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49535" y="3479810"/>
                <a:ext cx="255587" cy="434977"/>
              </a:xfrm>
              <a:custGeom>
                <a:avLst/>
                <a:gdLst>
                  <a:gd name="T0" fmla="*/ 63 w 68"/>
                  <a:gd name="T1" fmla="*/ 116 h 116"/>
                  <a:gd name="T2" fmla="*/ 60 w 68"/>
                  <a:gd name="T3" fmla="*/ 116 h 116"/>
                  <a:gd name="T4" fmla="*/ 16 w 68"/>
                  <a:gd name="T5" fmla="*/ 98 h 116"/>
                  <a:gd name="T6" fmla="*/ 0 w 68"/>
                  <a:gd name="T7" fmla="*/ 23 h 116"/>
                  <a:gd name="T8" fmla="*/ 55 w 68"/>
                  <a:gd name="T9" fmla="*/ 16 h 116"/>
                  <a:gd name="T10" fmla="*/ 68 w 68"/>
                  <a:gd name="T11" fmla="*/ 91 h 116"/>
                  <a:gd name="T12" fmla="*/ 62 w 68"/>
                  <a:gd name="T13" fmla="*/ 103 h 116"/>
                  <a:gd name="T14" fmla="*/ 63 w 68"/>
                  <a:gd name="T15" fmla="*/ 116 h 116"/>
                  <a:gd name="T16" fmla="*/ 38 w 68"/>
                  <a:gd name="T17" fmla="*/ 65 h 116"/>
                  <a:gd name="T18" fmla="*/ 54 w 68"/>
                  <a:gd name="T19" fmla="*/ 91 h 116"/>
                  <a:gd name="T20" fmla="*/ 44 w 68"/>
                  <a:gd name="T21" fmla="*/ 60 h 116"/>
                  <a:gd name="T22" fmla="*/ 38 w 68"/>
                  <a:gd name="T23" fmla="*/ 65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8" h="116">
                    <a:moveTo>
                      <a:pt x="63" y="116"/>
                    </a:moveTo>
                    <a:cubicBezTo>
                      <a:pt x="62" y="116"/>
                      <a:pt x="60" y="116"/>
                      <a:pt x="60" y="116"/>
                    </a:cubicBezTo>
                    <a:cubicBezTo>
                      <a:pt x="46" y="108"/>
                      <a:pt x="26" y="108"/>
                      <a:pt x="16" y="98"/>
                    </a:cubicBezTo>
                    <a:cubicBezTo>
                      <a:pt x="0" y="81"/>
                      <a:pt x="0" y="56"/>
                      <a:pt x="0" y="23"/>
                    </a:cubicBezTo>
                    <a:cubicBezTo>
                      <a:pt x="12" y="8"/>
                      <a:pt x="40" y="0"/>
                      <a:pt x="55" y="16"/>
                    </a:cubicBezTo>
                    <a:cubicBezTo>
                      <a:pt x="60" y="40"/>
                      <a:pt x="62" y="69"/>
                      <a:pt x="68" y="91"/>
                    </a:cubicBezTo>
                    <a:cubicBezTo>
                      <a:pt x="68" y="98"/>
                      <a:pt x="59" y="95"/>
                      <a:pt x="62" y="103"/>
                    </a:cubicBezTo>
                    <a:cubicBezTo>
                      <a:pt x="66" y="106"/>
                      <a:pt x="67" y="110"/>
                      <a:pt x="63" y="116"/>
                    </a:cubicBezTo>
                    <a:close/>
                    <a:moveTo>
                      <a:pt x="38" y="65"/>
                    </a:moveTo>
                    <a:cubicBezTo>
                      <a:pt x="40" y="75"/>
                      <a:pt x="38" y="93"/>
                      <a:pt x="54" y="91"/>
                    </a:cubicBezTo>
                    <a:cubicBezTo>
                      <a:pt x="47" y="85"/>
                      <a:pt x="50" y="69"/>
                      <a:pt x="44" y="60"/>
                    </a:cubicBezTo>
                    <a:cubicBezTo>
                      <a:pt x="43" y="64"/>
                      <a:pt x="38" y="61"/>
                      <a:pt x="38" y="6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00" name="Freeform 161">
                <a:extLst>
                  <a:ext uri="{FF2B5EF4-FFF2-40B4-BE49-F238E27FC236}">
                    <a16:creationId xmlns:a16="http://schemas.microsoft.com/office/drawing/2014/main" id="{4E512E30-C15D-42BC-A326-5CA617512B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1695456"/>
                <a:ext cx="525465" cy="1109667"/>
              </a:xfrm>
              <a:custGeom>
                <a:avLst/>
                <a:gdLst>
                  <a:gd name="T0" fmla="*/ 139 w 140"/>
                  <a:gd name="T1" fmla="*/ 64 h 296"/>
                  <a:gd name="T2" fmla="*/ 139 w 140"/>
                  <a:gd name="T3" fmla="*/ 71 h 296"/>
                  <a:gd name="T4" fmla="*/ 138 w 140"/>
                  <a:gd name="T5" fmla="*/ 71 h 296"/>
                  <a:gd name="T6" fmla="*/ 93 w 140"/>
                  <a:gd name="T7" fmla="*/ 296 h 296"/>
                  <a:gd name="T8" fmla="*/ 84 w 140"/>
                  <a:gd name="T9" fmla="*/ 296 h 296"/>
                  <a:gd name="T10" fmla="*/ 75 w 140"/>
                  <a:gd name="T11" fmla="*/ 294 h 296"/>
                  <a:gd name="T12" fmla="*/ 63 w 140"/>
                  <a:gd name="T13" fmla="*/ 261 h 296"/>
                  <a:gd name="T14" fmla="*/ 33 w 140"/>
                  <a:gd name="T15" fmla="*/ 170 h 296"/>
                  <a:gd name="T16" fmla="*/ 0 w 140"/>
                  <a:gd name="T17" fmla="*/ 34 h 296"/>
                  <a:gd name="T18" fmla="*/ 0 w 140"/>
                  <a:gd name="T19" fmla="*/ 27 h 296"/>
                  <a:gd name="T20" fmla="*/ 16 w 140"/>
                  <a:gd name="T21" fmla="*/ 0 h 296"/>
                  <a:gd name="T22" fmla="*/ 67 w 140"/>
                  <a:gd name="T23" fmla="*/ 34 h 296"/>
                  <a:gd name="T24" fmla="*/ 70 w 140"/>
                  <a:gd name="T25" fmla="*/ 68 h 296"/>
                  <a:gd name="T26" fmla="*/ 81 w 140"/>
                  <a:gd name="T27" fmla="*/ 61 h 296"/>
                  <a:gd name="T28" fmla="*/ 76 w 140"/>
                  <a:gd name="T29" fmla="*/ 43 h 296"/>
                  <a:gd name="T30" fmla="*/ 110 w 140"/>
                  <a:gd name="T31" fmla="*/ 11 h 296"/>
                  <a:gd name="T32" fmla="*/ 121 w 140"/>
                  <a:gd name="T33" fmla="*/ 3 h 296"/>
                  <a:gd name="T34" fmla="*/ 139 w 140"/>
                  <a:gd name="T35" fmla="*/ 64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0" h="296">
                    <a:moveTo>
                      <a:pt x="139" y="64"/>
                    </a:moveTo>
                    <a:cubicBezTo>
                      <a:pt x="139" y="67"/>
                      <a:pt x="139" y="68"/>
                      <a:pt x="139" y="71"/>
                    </a:cubicBezTo>
                    <a:cubicBezTo>
                      <a:pt x="138" y="71"/>
                      <a:pt x="138" y="71"/>
                      <a:pt x="138" y="71"/>
                    </a:cubicBezTo>
                    <a:cubicBezTo>
                      <a:pt x="125" y="148"/>
                      <a:pt x="108" y="221"/>
                      <a:pt x="93" y="296"/>
                    </a:cubicBezTo>
                    <a:cubicBezTo>
                      <a:pt x="90" y="296"/>
                      <a:pt x="87" y="296"/>
                      <a:pt x="84" y="296"/>
                    </a:cubicBezTo>
                    <a:cubicBezTo>
                      <a:pt x="85" y="294"/>
                      <a:pt x="78" y="296"/>
                      <a:pt x="75" y="294"/>
                    </a:cubicBezTo>
                    <a:cubicBezTo>
                      <a:pt x="72" y="291"/>
                      <a:pt x="67" y="273"/>
                      <a:pt x="63" y="261"/>
                    </a:cubicBezTo>
                    <a:cubicBezTo>
                      <a:pt x="53" y="231"/>
                      <a:pt x="42" y="201"/>
                      <a:pt x="33" y="170"/>
                    </a:cubicBezTo>
                    <a:cubicBezTo>
                      <a:pt x="18" y="118"/>
                      <a:pt x="8" y="74"/>
                      <a:pt x="0" y="34"/>
                    </a:cubicBezTo>
                    <a:cubicBezTo>
                      <a:pt x="0" y="32"/>
                      <a:pt x="0" y="29"/>
                      <a:pt x="0" y="27"/>
                    </a:cubicBezTo>
                    <a:cubicBezTo>
                      <a:pt x="3" y="16"/>
                      <a:pt x="3" y="0"/>
                      <a:pt x="16" y="0"/>
                    </a:cubicBezTo>
                    <a:cubicBezTo>
                      <a:pt x="31" y="13"/>
                      <a:pt x="49" y="23"/>
                      <a:pt x="67" y="34"/>
                    </a:cubicBezTo>
                    <a:cubicBezTo>
                      <a:pt x="74" y="43"/>
                      <a:pt x="71" y="56"/>
                      <a:pt x="70" y="68"/>
                    </a:cubicBezTo>
                    <a:cubicBezTo>
                      <a:pt x="75" y="68"/>
                      <a:pt x="80" y="64"/>
                      <a:pt x="81" y="61"/>
                    </a:cubicBezTo>
                    <a:cubicBezTo>
                      <a:pt x="80" y="62"/>
                      <a:pt x="72" y="49"/>
                      <a:pt x="76" y="43"/>
                    </a:cubicBezTo>
                    <a:cubicBezTo>
                      <a:pt x="87" y="33"/>
                      <a:pt x="98" y="22"/>
                      <a:pt x="110" y="11"/>
                    </a:cubicBezTo>
                    <a:cubicBezTo>
                      <a:pt x="114" y="8"/>
                      <a:pt x="116" y="0"/>
                      <a:pt x="121" y="3"/>
                    </a:cubicBezTo>
                    <a:cubicBezTo>
                      <a:pt x="140" y="11"/>
                      <a:pt x="134" y="43"/>
                      <a:pt x="139" y="64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01" name="Freeform 162">
                <a:extLst>
                  <a:ext uri="{FF2B5EF4-FFF2-40B4-BE49-F238E27FC236}">
                    <a16:creationId xmlns:a16="http://schemas.microsoft.com/office/drawing/2014/main" id="{F29BE793-7E4A-4A80-AF3B-6CA3406080F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19371" y="1709743"/>
                <a:ext cx="1695457" cy="2039945"/>
              </a:xfrm>
              <a:custGeom>
                <a:avLst/>
                <a:gdLst>
                  <a:gd name="T0" fmla="*/ 289 w 452"/>
                  <a:gd name="T1" fmla="*/ 0 h 544"/>
                  <a:gd name="T2" fmla="*/ 293 w 452"/>
                  <a:gd name="T3" fmla="*/ 0 h 544"/>
                  <a:gd name="T4" fmla="*/ 403 w 452"/>
                  <a:gd name="T5" fmla="*/ 35 h 544"/>
                  <a:gd name="T6" fmla="*/ 413 w 452"/>
                  <a:gd name="T7" fmla="*/ 78 h 544"/>
                  <a:gd name="T8" fmla="*/ 414 w 452"/>
                  <a:gd name="T9" fmla="*/ 130 h 544"/>
                  <a:gd name="T10" fmla="*/ 421 w 452"/>
                  <a:gd name="T11" fmla="*/ 163 h 544"/>
                  <a:gd name="T12" fmla="*/ 424 w 452"/>
                  <a:gd name="T13" fmla="*/ 225 h 544"/>
                  <a:gd name="T14" fmla="*/ 446 w 452"/>
                  <a:gd name="T15" fmla="*/ 341 h 544"/>
                  <a:gd name="T16" fmla="*/ 452 w 452"/>
                  <a:gd name="T17" fmla="*/ 475 h 544"/>
                  <a:gd name="T18" fmla="*/ 439 w 452"/>
                  <a:gd name="T19" fmla="*/ 471 h 544"/>
                  <a:gd name="T20" fmla="*/ 395 w 452"/>
                  <a:gd name="T21" fmla="*/ 476 h 544"/>
                  <a:gd name="T22" fmla="*/ 395 w 452"/>
                  <a:gd name="T23" fmla="*/ 513 h 544"/>
                  <a:gd name="T24" fmla="*/ 340 w 452"/>
                  <a:gd name="T25" fmla="*/ 517 h 544"/>
                  <a:gd name="T26" fmla="*/ 289 w 452"/>
                  <a:gd name="T27" fmla="*/ 470 h 544"/>
                  <a:gd name="T28" fmla="*/ 248 w 452"/>
                  <a:gd name="T29" fmla="*/ 372 h 544"/>
                  <a:gd name="T30" fmla="*/ 206 w 452"/>
                  <a:gd name="T31" fmla="*/ 527 h 544"/>
                  <a:gd name="T32" fmla="*/ 70 w 452"/>
                  <a:gd name="T33" fmla="*/ 523 h 544"/>
                  <a:gd name="T34" fmla="*/ 70 w 452"/>
                  <a:gd name="T35" fmla="*/ 499 h 544"/>
                  <a:gd name="T36" fmla="*/ 56 w 452"/>
                  <a:gd name="T37" fmla="*/ 486 h 544"/>
                  <a:gd name="T38" fmla="*/ 4 w 452"/>
                  <a:gd name="T39" fmla="*/ 499 h 544"/>
                  <a:gd name="T40" fmla="*/ 4 w 452"/>
                  <a:gd name="T41" fmla="*/ 364 h 544"/>
                  <a:gd name="T42" fmla="*/ 12 w 452"/>
                  <a:gd name="T43" fmla="*/ 322 h 544"/>
                  <a:gd name="T44" fmla="*/ 16 w 452"/>
                  <a:gd name="T45" fmla="*/ 264 h 544"/>
                  <a:gd name="T46" fmla="*/ 33 w 452"/>
                  <a:gd name="T47" fmla="*/ 124 h 544"/>
                  <a:gd name="T48" fmla="*/ 49 w 452"/>
                  <a:gd name="T49" fmla="*/ 44 h 544"/>
                  <a:gd name="T50" fmla="*/ 107 w 452"/>
                  <a:gd name="T51" fmla="*/ 25 h 544"/>
                  <a:gd name="T52" fmla="*/ 163 w 452"/>
                  <a:gd name="T53" fmla="*/ 4 h 544"/>
                  <a:gd name="T54" fmla="*/ 196 w 452"/>
                  <a:gd name="T55" fmla="*/ 153 h 544"/>
                  <a:gd name="T56" fmla="*/ 228 w 452"/>
                  <a:gd name="T57" fmla="*/ 255 h 544"/>
                  <a:gd name="T58" fmla="*/ 244 w 452"/>
                  <a:gd name="T59" fmla="*/ 285 h 544"/>
                  <a:gd name="T60" fmla="*/ 251 w 452"/>
                  <a:gd name="T61" fmla="*/ 265 h 544"/>
                  <a:gd name="T62" fmla="*/ 256 w 452"/>
                  <a:gd name="T63" fmla="*/ 242 h 544"/>
                  <a:gd name="T64" fmla="*/ 285 w 452"/>
                  <a:gd name="T65" fmla="*/ 109 h 544"/>
                  <a:gd name="T66" fmla="*/ 289 w 452"/>
                  <a:gd name="T67" fmla="*/ 0 h 544"/>
                  <a:gd name="T68" fmla="*/ 80 w 452"/>
                  <a:gd name="T69" fmla="*/ 314 h 544"/>
                  <a:gd name="T70" fmla="*/ 80 w 452"/>
                  <a:gd name="T71" fmla="*/ 344 h 544"/>
                  <a:gd name="T72" fmla="*/ 80 w 452"/>
                  <a:gd name="T73" fmla="*/ 383 h 544"/>
                  <a:gd name="T74" fmla="*/ 92 w 452"/>
                  <a:gd name="T75" fmla="*/ 332 h 544"/>
                  <a:gd name="T76" fmla="*/ 92 w 452"/>
                  <a:gd name="T77" fmla="*/ 265 h 544"/>
                  <a:gd name="T78" fmla="*/ 80 w 452"/>
                  <a:gd name="T79" fmla="*/ 314 h 5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52" h="544">
                    <a:moveTo>
                      <a:pt x="289" y="0"/>
                    </a:moveTo>
                    <a:cubicBezTo>
                      <a:pt x="290" y="0"/>
                      <a:pt x="291" y="0"/>
                      <a:pt x="293" y="0"/>
                    </a:cubicBezTo>
                    <a:cubicBezTo>
                      <a:pt x="329" y="13"/>
                      <a:pt x="366" y="25"/>
                      <a:pt x="403" y="35"/>
                    </a:cubicBezTo>
                    <a:cubicBezTo>
                      <a:pt x="405" y="50"/>
                      <a:pt x="411" y="63"/>
                      <a:pt x="413" y="78"/>
                    </a:cubicBezTo>
                    <a:cubicBezTo>
                      <a:pt x="414" y="95"/>
                      <a:pt x="413" y="112"/>
                      <a:pt x="414" y="130"/>
                    </a:cubicBezTo>
                    <a:cubicBezTo>
                      <a:pt x="414" y="142"/>
                      <a:pt x="420" y="152"/>
                      <a:pt x="421" y="163"/>
                    </a:cubicBezTo>
                    <a:cubicBezTo>
                      <a:pt x="422" y="185"/>
                      <a:pt x="421" y="205"/>
                      <a:pt x="424" y="225"/>
                    </a:cubicBezTo>
                    <a:cubicBezTo>
                      <a:pt x="429" y="265"/>
                      <a:pt x="441" y="302"/>
                      <a:pt x="446" y="341"/>
                    </a:cubicBezTo>
                    <a:cubicBezTo>
                      <a:pt x="451" y="384"/>
                      <a:pt x="449" y="426"/>
                      <a:pt x="452" y="475"/>
                    </a:cubicBezTo>
                    <a:cubicBezTo>
                      <a:pt x="450" y="480"/>
                      <a:pt x="443" y="472"/>
                      <a:pt x="439" y="471"/>
                    </a:cubicBezTo>
                    <a:cubicBezTo>
                      <a:pt x="424" y="467"/>
                      <a:pt x="404" y="467"/>
                      <a:pt x="395" y="476"/>
                    </a:cubicBezTo>
                    <a:cubicBezTo>
                      <a:pt x="395" y="489"/>
                      <a:pt x="395" y="500"/>
                      <a:pt x="395" y="513"/>
                    </a:cubicBezTo>
                    <a:cubicBezTo>
                      <a:pt x="375" y="513"/>
                      <a:pt x="357" y="519"/>
                      <a:pt x="340" y="517"/>
                    </a:cubicBezTo>
                    <a:cubicBezTo>
                      <a:pt x="312" y="514"/>
                      <a:pt x="301" y="490"/>
                      <a:pt x="289" y="470"/>
                    </a:cubicBezTo>
                    <a:cubicBezTo>
                      <a:pt x="273" y="443"/>
                      <a:pt x="256" y="400"/>
                      <a:pt x="248" y="372"/>
                    </a:cubicBezTo>
                    <a:cubicBezTo>
                      <a:pt x="238" y="428"/>
                      <a:pt x="235" y="489"/>
                      <a:pt x="206" y="527"/>
                    </a:cubicBezTo>
                    <a:cubicBezTo>
                      <a:pt x="171" y="544"/>
                      <a:pt x="108" y="532"/>
                      <a:pt x="70" y="523"/>
                    </a:cubicBezTo>
                    <a:cubicBezTo>
                      <a:pt x="70" y="515"/>
                      <a:pt x="70" y="506"/>
                      <a:pt x="70" y="499"/>
                    </a:cubicBezTo>
                    <a:cubicBezTo>
                      <a:pt x="63" y="501"/>
                      <a:pt x="61" y="490"/>
                      <a:pt x="56" y="486"/>
                    </a:cubicBezTo>
                    <a:cubicBezTo>
                      <a:pt x="35" y="486"/>
                      <a:pt x="19" y="492"/>
                      <a:pt x="4" y="499"/>
                    </a:cubicBezTo>
                    <a:cubicBezTo>
                      <a:pt x="7" y="454"/>
                      <a:pt x="0" y="410"/>
                      <a:pt x="4" y="364"/>
                    </a:cubicBezTo>
                    <a:cubicBezTo>
                      <a:pt x="4" y="350"/>
                      <a:pt x="10" y="336"/>
                      <a:pt x="12" y="322"/>
                    </a:cubicBezTo>
                    <a:cubicBezTo>
                      <a:pt x="14" y="303"/>
                      <a:pt x="14" y="283"/>
                      <a:pt x="16" y="264"/>
                    </a:cubicBezTo>
                    <a:cubicBezTo>
                      <a:pt x="23" y="218"/>
                      <a:pt x="24" y="170"/>
                      <a:pt x="33" y="124"/>
                    </a:cubicBezTo>
                    <a:cubicBezTo>
                      <a:pt x="40" y="97"/>
                      <a:pt x="41" y="69"/>
                      <a:pt x="49" y="44"/>
                    </a:cubicBezTo>
                    <a:cubicBezTo>
                      <a:pt x="67" y="35"/>
                      <a:pt x="87" y="31"/>
                      <a:pt x="107" y="25"/>
                    </a:cubicBezTo>
                    <a:cubicBezTo>
                      <a:pt x="125" y="17"/>
                      <a:pt x="143" y="9"/>
                      <a:pt x="163" y="4"/>
                    </a:cubicBezTo>
                    <a:cubicBezTo>
                      <a:pt x="175" y="54"/>
                      <a:pt x="184" y="105"/>
                      <a:pt x="196" y="153"/>
                    </a:cubicBezTo>
                    <a:cubicBezTo>
                      <a:pt x="205" y="189"/>
                      <a:pt x="217" y="223"/>
                      <a:pt x="228" y="255"/>
                    </a:cubicBezTo>
                    <a:cubicBezTo>
                      <a:pt x="232" y="265"/>
                      <a:pt x="235" y="279"/>
                      <a:pt x="244" y="285"/>
                    </a:cubicBezTo>
                    <a:cubicBezTo>
                      <a:pt x="251" y="280"/>
                      <a:pt x="249" y="271"/>
                      <a:pt x="251" y="265"/>
                    </a:cubicBezTo>
                    <a:cubicBezTo>
                      <a:pt x="252" y="257"/>
                      <a:pt x="253" y="250"/>
                      <a:pt x="256" y="242"/>
                    </a:cubicBezTo>
                    <a:cubicBezTo>
                      <a:pt x="265" y="196"/>
                      <a:pt x="278" y="154"/>
                      <a:pt x="285" y="109"/>
                    </a:cubicBezTo>
                    <a:cubicBezTo>
                      <a:pt x="290" y="75"/>
                      <a:pt x="286" y="35"/>
                      <a:pt x="289" y="0"/>
                    </a:cubicBezTo>
                    <a:close/>
                    <a:moveTo>
                      <a:pt x="80" y="314"/>
                    </a:moveTo>
                    <a:cubicBezTo>
                      <a:pt x="79" y="323"/>
                      <a:pt x="82" y="334"/>
                      <a:pt x="80" y="344"/>
                    </a:cubicBezTo>
                    <a:cubicBezTo>
                      <a:pt x="80" y="356"/>
                      <a:pt x="76" y="370"/>
                      <a:pt x="80" y="383"/>
                    </a:cubicBezTo>
                    <a:cubicBezTo>
                      <a:pt x="84" y="367"/>
                      <a:pt x="88" y="350"/>
                      <a:pt x="92" y="332"/>
                    </a:cubicBezTo>
                    <a:cubicBezTo>
                      <a:pt x="96" y="313"/>
                      <a:pt x="101" y="281"/>
                      <a:pt x="92" y="265"/>
                    </a:cubicBezTo>
                    <a:cubicBezTo>
                      <a:pt x="91" y="284"/>
                      <a:pt x="83" y="297"/>
                      <a:pt x="80" y="314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02" name="Freeform 163">
                <a:extLst>
                  <a:ext uri="{FF2B5EF4-FFF2-40B4-BE49-F238E27FC236}">
                    <a16:creationId xmlns:a16="http://schemas.microsoft.com/office/drawing/2014/main" id="{F18F059C-650C-4468-B54C-D2562631E8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70225" y="1665292"/>
                <a:ext cx="839790" cy="1258889"/>
              </a:xfrm>
              <a:custGeom>
                <a:avLst/>
                <a:gdLst>
                  <a:gd name="T0" fmla="*/ 160 w 224"/>
                  <a:gd name="T1" fmla="*/ 0 h 336"/>
                  <a:gd name="T2" fmla="*/ 161 w 224"/>
                  <a:gd name="T3" fmla="*/ 0 h 336"/>
                  <a:gd name="T4" fmla="*/ 192 w 224"/>
                  <a:gd name="T5" fmla="*/ 20 h 336"/>
                  <a:gd name="T6" fmla="*/ 219 w 224"/>
                  <a:gd name="T7" fmla="*/ 62 h 336"/>
                  <a:gd name="T8" fmla="*/ 202 w 224"/>
                  <a:gd name="T9" fmla="*/ 79 h 336"/>
                  <a:gd name="T10" fmla="*/ 224 w 224"/>
                  <a:gd name="T11" fmla="*/ 101 h 336"/>
                  <a:gd name="T12" fmla="*/ 224 w 224"/>
                  <a:gd name="T13" fmla="*/ 104 h 336"/>
                  <a:gd name="T14" fmla="*/ 122 w 224"/>
                  <a:gd name="T15" fmla="*/ 336 h 336"/>
                  <a:gd name="T16" fmla="*/ 121 w 224"/>
                  <a:gd name="T17" fmla="*/ 308 h 336"/>
                  <a:gd name="T18" fmla="*/ 2 w 224"/>
                  <a:gd name="T19" fmla="*/ 111 h 336"/>
                  <a:gd name="T20" fmla="*/ 17 w 224"/>
                  <a:gd name="T21" fmla="*/ 84 h 336"/>
                  <a:gd name="T22" fmla="*/ 0 w 224"/>
                  <a:gd name="T23" fmla="*/ 65 h 336"/>
                  <a:gd name="T24" fmla="*/ 0 w 224"/>
                  <a:gd name="T25" fmla="*/ 63 h 336"/>
                  <a:gd name="T26" fmla="*/ 48 w 224"/>
                  <a:gd name="T27" fmla="*/ 8 h 336"/>
                  <a:gd name="T28" fmla="*/ 122 w 224"/>
                  <a:gd name="T29" fmla="*/ 293 h 336"/>
                  <a:gd name="T30" fmla="*/ 160 w 224"/>
                  <a:gd name="T31" fmla="*/ 0 h 3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24" h="336">
                    <a:moveTo>
                      <a:pt x="160" y="0"/>
                    </a:moveTo>
                    <a:cubicBezTo>
                      <a:pt x="160" y="0"/>
                      <a:pt x="160" y="0"/>
                      <a:pt x="161" y="0"/>
                    </a:cubicBezTo>
                    <a:cubicBezTo>
                      <a:pt x="169" y="9"/>
                      <a:pt x="177" y="18"/>
                      <a:pt x="192" y="20"/>
                    </a:cubicBezTo>
                    <a:cubicBezTo>
                      <a:pt x="200" y="35"/>
                      <a:pt x="210" y="48"/>
                      <a:pt x="219" y="62"/>
                    </a:cubicBezTo>
                    <a:cubicBezTo>
                      <a:pt x="217" y="69"/>
                      <a:pt x="206" y="72"/>
                      <a:pt x="202" y="79"/>
                    </a:cubicBezTo>
                    <a:cubicBezTo>
                      <a:pt x="209" y="87"/>
                      <a:pt x="217" y="95"/>
                      <a:pt x="224" y="101"/>
                    </a:cubicBezTo>
                    <a:cubicBezTo>
                      <a:pt x="224" y="102"/>
                      <a:pt x="224" y="104"/>
                      <a:pt x="224" y="104"/>
                    </a:cubicBezTo>
                    <a:cubicBezTo>
                      <a:pt x="197" y="189"/>
                      <a:pt x="160" y="263"/>
                      <a:pt x="122" y="336"/>
                    </a:cubicBezTo>
                    <a:cubicBezTo>
                      <a:pt x="117" y="333"/>
                      <a:pt x="118" y="315"/>
                      <a:pt x="121" y="308"/>
                    </a:cubicBezTo>
                    <a:cubicBezTo>
                      <a:pt x="77" y="247"/>
                      <a:pt x="35" y="184"/>
                      <a:pt x="2" y="111"/>
                    </a:cubicBezTo>
                    <a:cubicBezTo>
                      <a:pt x="6" y="101"/>
                      <a:pt x="12" y="93"/>
                      <a:pt x="17" y="84"/>
                    </a:cubicBezTo>
                    <a:cubicBezTo>
                      <a:pt x="15" y="76"/>
                      <a:pt x="7" y="72"/>
                      <a:pt x="0" y="65"/>
                    </a:cubicBezTo>
                    <a:cubicBezTo>
                      <a:pt x="0" y="65"/>
                      <a:pt x="0" y="64"/>
                      <a:pt x="0" y="63"/>
                    </a:cubicBezTo>
                    <a:cubicBezTo>
                      <a:pt x="16" y="44"/>
                      <a:pt x="25" y="18"/>
                      <a:pt x="48" y="8"/>
                    </a:cubicBezTo>
                    <a:cubicBezTo>
                      <a:pt x="73" y="104"/>
                      <a:pt x="95" y="200"/>
                      <a:pt x="122" y="293"/>
                    </a:cubicBezTo>
                    <a:cubicBezTo>
                      <a:pt x="136" y="198"/>
                      <a:pt x="164" y="114"/>
                      <a:pt x="160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03" name="Freeform 164">
                <a:extLst>
                  <a:ext uri="{FF2B5EF4-FFF2-40B4-BE49-F238E27FC236}">
                    <a16:creationId xmlns:a16="http://schemas.microsoft.com/office/drawing/2014/main" id="{4CE2E656-B08F-472A-B4EE-4228C439EF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9611" y="1619255"/>
                <a:ext cx="165099" cy="330202"/>
              </a:xfrm>
              <a:custGeom>
                <a:avLst/>
                <a:gdLst>
                  <a:gd name="T0" fmla="*/ 0 w 44"/>
                  <a:gd name="T1" fmla="*/ 21 h 88"/>
                  <a:gd name="T2" fmla="*/ 0 w 44"/>
                  <a:gd name="T3" fmla="*/ 21 h 88"/>
                  <a:gd name="T4" fmla="*/ 12 w 44"/>
                  <a:gd name="T5" fmla="*/ 0 h 88"/>
                  <a:gd name="T6" fmla="*/ 44 w 44"/>
                  <a:gd name="T7" fmla="*/ 46 h 88"/>
                  <a:gd name="T8" fmla="*/ 19 w 44"/>
                  <a:gd name="T9" fmla="*/ 88 h 88"/>
                  <a:gd name="T10" fmla="*/ 0 w 44"/>
                  <a:gd name="T11" fmla="*/ 21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88">
                    <a:moveTo>
                      <a:pt x="0" y="21"/>
                    </a:moveTo>
                    <a:cubicBezTo>
                      <a:pt x="0" y="21"/>
                      <a:pt x="0" y="21"/>
                      <a:pt x="0" y="21"/>
                    </a:cubicBezTo>
                    <a:cubicBezTo>
                      <a:pt x="8" y="17"/>
                      <a:pt x="6" y="4"/>
                      <a:pt x="12" y="0"/>
                    </a:cubicBezTo>
                    <a:cubicBezTo>
                      <a:pt x="17" y="21"/>
                      <a:pt x="35" y="28"/>
                      <a:pt x="44" y="46"/>
                    </a:cubicBezTo>
                    <a:cubicBezTo>
                      <a:pt x="32" y="56"/>
                      <a:pt x="35" y="82"/>
                      <a:pt x="19" y="88"/>
                    </a:cubicBezTo>
                    <a:cubicBezTo>
                      <a:pt x="11" y="63"/>
                      <a:pt x="8" y="50"/>
                      <a:pt x="0" y="21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04" name="Freeform 165">
                <a:extLst>
                  <a:ext uri="{FF2B5EF4-FFF2-40B4-BE49-F238E27FC236}">
                    <a16:creationId xmlns:a16="http://schemas.microsoft.com/office/drawing/2014/main" id="{A402A6C4-9206-475D-B76A-38C6E924F3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65526" y="1619255"/>
                <a:ext cx="134939" cy="346075"/>
              </a:xfrm>
              <a:custGeom>
                <a:avLst/>
                <a:gdLst>
                  <a:gd name="T0" fmla="*/ 22 w 36"/>
                  <a:gd name="T1" fmla="*/ 0 h 92"/>
                  <a:gd name="T2" fmla="*/ 22 w 36"/>
                  <a:gd name="T3" fmla="*/ 92 h 92"/>
                  <a:gd name="T4" fmla="*/ 0 w 36"/>
                  <a:gd name="T5" fmla="*/ 46 h 92"/>
                  <a:gd name="T6" fmla="*/ 22 w 36"/>
                  <a:gd name="T7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6" h="92">
                    <a:moveTo>
                      <a:pt x="22" y="0"/>
                    </a:moveTo>
                    <a:cubicBezTo>
                      <a:pt x="36" y="13"/>
                      <a:pt x="29" y="69"/>
                      <a:pt x="22" y="92"/>
                    </a:cubicBezTo>
                    <a:cubicBezTo>
                      <a:pt x="3" y="91"/>
                      <a:pt x="8" y="55"/>
                      <a:pt x="0" y="46"/>
                    </a:cubicBezTo>
                    <a:cubicBezTo>
                      <a:pt x="4" y="29"/>
                      <a:pt x="22" y="26"/>
                      <a:pt x="22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05" name="Freeform 166">
                <a:extLst>
                  <a:ext uri="{FF2B5EF4-FFF2-40B4-BE49-F238E27FC236}">
                    <a16:creationId xmlns:a16="http://schemas.microsoft.com/office/drawing/2014/main" id="{C981CFEC-87EB-4C30-9C33-CD692F5497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6274" y="955678"/>
                <a:ext cx="581026" cy="346075"/>
              </a:xfrm>
              <a:custGeom>
                <a:avLst/>
                <a:gdLst>
                  <a:gd name="T0" fmla="*/ 20 w 155"/>
                  <a:gd name="T1" fmla="*/ 49 h 92"/>
                  <a:gd name="T2" fmla="*/ 54 w 155"/>
                  <a:gd name="T3" fmla="*/ 54 h 92"/>
                  <a:gd name="T4" fmla="*/ 98 w 155"/>
                  <a:gd name="T5" fmla="*/ 59 h 92"/>
                  <a:gd name="T6" fmla="*/ 128 w 155"/>
                  <a:gd name="T7" fmla="*/ 67 h 92"/>
                  <a:gd name="T8" fmla="*/ 136 w 155"/>
                  <a:gd name="T9" fmla="*/ 92 h 92"/>
                  <a:gd name="T10" fmla="*/ 105 w 155"/>
                  <a:gd name="T11" fmla="*/ 5 h 92"/>
                  <a:gd name="T12" fmla="*/ 55 w 155"/>
                  <a:gd name="T13" fmla="*/ 4 h 92"/>
                  <a:gd name="T14" fmla="*/ 24 w 155"/>
                  <a:gd name="T15" fmla="*/ 21 h 92"/>
                  <a:gd name="T16" fmla="*/ 0 w 155"/>
                  <a:gd name="T17" fmla="*/ 45 h 92"/>
                  <a:gd name="T18" fmla="*/ 6 w 155"/>
                  <a:gd name="T19" fmla="*/ 91 h 92"/>
                  <a:gd name="T20" fmla="*/ 7 w 155"/>
                  <a:gd name="T21" fmla="*/ 91 h 92"/>
                  <a:gd name="T22" fmla="*/ 20 w 155"/>
                  <a:gd name="T23" fmla="*/ 49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5" h="92">
                    <a:moveTo>
                      <a:pt x="20" y="49"/>
                    </a:moveTo>
                    <a:cubicBezTo>
                      <a:pt x="28" y="48"/>
                      <a:pt x="33" y="47"/>
                      <a:pt x="54" y="54"/>
                    </a:cubicBezTo>
                    <a:cubicBezTo>
                      <a:pt x="75" y="60"/>
                      <a:pt x="90" y="69"/>
                      <a:pt x="98" y="59"/>
                    </a:cubicBezTo>
                    <a:cubicBezTo>
                      <a:pt x="107" y="49"/>
                      <a:pt x="127" y="62"/>
                      <a:pt x="128" y="67"/>
                    </a:cubicBezTo>
                    <a:cubicBezTo>
                      <a:pt x="130" y="73"/>
                      <a:pt x="136" y="92"/>
                      <a:pt x="136" y="92"/>
                    </a:cubicBezTo>
                    <a:cubicBezTo>
                      <a:pt x="155" y="54"/>
                      <a:pt x="132" y="19"/>
                      <a:pt x="105" y="5"/>
                    </a:cubicBezTo>
                    <a:cubicBezTo>
                      <a:pt x="86" y="5"/>
                      <a:pt x="69" y="0"/>
                      <a:pt x="55" y="4"/>
                    </a:cubicBezTo>
                    <a:cubicBezTo>
                      <a:pt x="43" y="6"/>
                      <a:pt x="34" y="15"/>
                      <a:pt x="24" y="21"/>
                    </a:cubicBezTo>
                    <a:cubicBezTo>
                      <a:pt x="15" y="29"/>
                      <a:pt x="4" y="35"/>
                      <a:pt x="0" y="45"/>
                    </a:cubicBezTo>
                    <a:cubicBezTo>
                      <a:pt x="1" y="62"/>
                      <a:pt x="1" y="77"/>
                      <a:pt x="6" y="91"/>
                    </a:cubicBezTo>
                    <a:cubicBezTo>
                      <a:pt x="7" y="91"/>
                      <a:pt x="7" y="91"/>
                      <a:pt x="7" y="91"/>
                    </a:cubicBezTo>
                    <a:cubicBezTo>
                      <a:pt x="9" y="82"/>
                      <a:pt x="14" y="51"/>
                      <a:pt x="20" y="49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06" name="Freeform 167">
                <a:extLst>
                  <a:ext uri="{FF2B5EF4-FFF2-40B4-BE49-F238E27FC236}">
                    <a16:creationId xmlns:a16="http://schemas.microsoft.com/office/drawing/2014/main" id="{F6F56323-26FA-4A2F-9133-659490A64A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16312" y="2133606"/>
                <a:ext cx="71438" cy="96838"/>
              </a:xfrm>
              <a:custGeom>
                <a:avLst/>
                <a:gdLst>
                  <a:gd name="T0" fmla="*/ 5 w 19"/>
                  <a:gd name="T1" fmla="*/ 10 h 26"/>
                  <a:gd name="T2" fmla="*/ 11 w 19"/>
                  <a:gd name="T3" fmla="*/ 2 h 26"/>
                  <a:gd name="T4" fmla="*/ 15 w 19"/>
                  <a:gd name="T5" fmla="*/ 10 h 26"/>
                  <a:gd name="T6" fmla="*/ 0 w 19"/>
                  <a:gd name="T7" fmla="*/ 22 h 26"/>
                  <a:gd name="T8" fmla="*/ 5 w 19"/>
                  <a:gd name="T9" fmla="*/ 1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6">
                    <a:moveTo>
                      <a:pt x="5" y="10"/>
                    </a:moveTo>
                    <a:cubicBezTo>
                      <a:pt x="9" y="6"/>
                      <a:pt x="5" y="0"/>
                      <a:pt x="11" y="2"/>
                    </a:cubicBezTo>
                    <a:cubicBezTo>
                      <a:pt x="16" y="4"/>
                      <a:pt x="19" y="5"/>
                      <a:pt x="15" y="10"/>
                    </a:cubicBezTo>
                    <a:cubicBezTo>
                      <a:pt x="11" y="16"/>
                      <a:pt x="0" y="26"/>
                      <a:pt x="0" y="22"/>
                    </a:cubicBezTo>
                    <a:cubicBezTo>
                      <a:pt x="0" y="19"/>
                      <a:pt x="5" y="10"/>
                      <a:pt x="5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07" name="Freeform 168">
                <a:extLst>
                  <a:ext uri="{FF2B5EF4-FFF2-40B4-BE49-F238E27FC236}">
                    <a16:creationId xmlns:a16="http://schemas.microsoft.com/office/drawing/2014/main" id="{92950EDB-C765-47D9-A05B-6E0F8A9A21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7261" y="2354269"/>
                <a:ext cx="71438" cy="93661"/>
              </a:xfrm>
              <a:custGeom>
                <a:avLst/>
                <a:gdLst>
                  <a:gd name="T0" fmla="*/ 6 w 19"/>
                  <a:gd name="T1" fmla="*/ 10 h 25"/>
                  <a:gd name="T2" fmla="*/ 11 w 19"/>
                  <a:gd name="T3" fmla="*/ 2 h 25"/>
                  <a:gd name="T4" fmla="*/ 15 w 19"/>
                  <a:gd name="T5" fmla="*/ 10 h 25"/>
                  <a:gd name="T6" fmla="*/ 0 w 19"/>
                  <a:gd name="T7" fmla="*/ 22 h 25"/>
                  <a:gd name="T8" fmla="*/ 6 w 19"/>
                  <a:gd name="T9" fmla="*/ 1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5">
                    <a:moveTo>
                      <a:pt x="6" y="10"/>
                    </a:moveTo>
                    <a:cubicBezTo>
                      <a:pt x="9" y="5"/>
                      <a:pt x="6" y="0"/>
                      <a:pt x="11" y="2"/>
                    </a:cubicBezTo>
                    <a:cubicBezTo>
                      <a:pt x="16" y="4"/>
                      <a:pt x="19" y="4"/>
                      <a:pt x="15" y="10"/>
                    </a:cubicBezTo>
                    <a:cubicBezTo>
                      <a:pt x="11" y="15"/>
                      <a:pt x="0" y="25"/>
                      <a:pt x="0" y="22"/>
                    </a:cubicBezTo>
                    <a:cubicBezTo>
                      <a:pt x="0" y="19"/>
                      <a:pt x="6" y="10"/>
                      <a:pt x="6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08" name="Freeform 169">
                <a:extLst>
                  <a:ext uri="{FF2B5EF4-FFF2-40B4-BE49-F238E27FC236}">
                    <a16:creationId xmlns:a16="http://schemas.microsoft.com/office/drawing/2014/main" id="{8133A71A-920A-4DE2-8521-79D0CB65C5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27349" y="2073282"/>
                <a:ext cx="49214" cy="630240"/>
              </a:xfrm>
              <a:custGeom>
                <a:avLst/>
                <a:gdLst>
                  <a:gd name="T0" fmla="*/ 10 w 13"/>
                  <a:gd name="T1" fmla="*/ 168 h 168"/>
                  <a:gd name="T2" fmla="*/ 6 w 13"/>
                  <a:gd name="T3" fmla="*/ 39 h 168"/>
                  <a:gd name="T4" fmla="*/ 6 w 13"/>
                  <a:gd name="T5" fmla="*/ 10 h 168"/>
                  <a:gd name="T6" fmla="*/ 13 w 13"/>
                  <a:gd name="T7" fmla="*/ 10 h 168"/>
                  <a:gd name="T8" fmla="*/ 10 w 13"/>
                  <a:gd name="T9" fmla="*/ 168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68">
                    <a:moveTo>
                      <a:pt x="10" y="168"/>
                    </a:moveTo>
                    <a:cubicBezTo>
                      <a:pt x="10" y="168"/>
                      <a:pt x="11" y="61"/>
                      <a:pt x="6" y="39"/>
                    </a:cubicBezTo>
                    <a:cubicBezTo>
                      <a:pt x="0" y="17"/>
                      <a:pt x="2" y="10"/>
                      <a:pt x="6" y="10"/>
                    </a:cubicBezTo>
                    <a:cubicBezTo>
                      <a:pt x="10" y="10"/>
                      <a:pt x="13" y="0"/>
                      <a:pt x="13" y="10"/>
                    </a:cubicBezTo>
                    <a:cubicBezTo>
                      <a:pt x="13" y="20"/>
                      <a:pt x="10" y="168"/>
                      <a:pt x="10" y="168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09" name="Freeform 170">
                <a:extLst>
                  <a:ext uri="{FF2B5EF4-FFF2-40B4-BE49-F238E27FC236}">
                    <a16:creationId xmlns:a16="http://schemas.microsoft.com/office/drawing/2014/main" id="{0BBF659C-359A-4AB7-911C-6BECC9CAC1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06853" y="2106619"/>
                <a:ext cx="98425" cy="1320804"/>
              </a:xfrm>
              <a:custGeom>
                <a:avLst/>
                <a:gdLst>
                  <a:gd name="T0" fmla="*/ 26 w 26"/>
                  <a:gd name="T1" fmla="*/ 352 h 352"/>
                  <a:gd name="T2" fmla="*/ 7 w 26"/>
                  <a:gd name="T3" fmla="*/ 213 h 352"/>
                  <a:gd name="T4" fmla="*/ 7 w 26"/>
                  <a:gd name="T5" fmla="*/ 145 h 352"/>
                  <a:gd name="T6" fmla="*/ 0 w 26"/>
                  <a:gd name="T7" fmla="*/ 30 h 352"/>
                  <a:gd name="T8" fmla="*/ 10 w 26"/>
                  <a:gd name="T9" fmla="*/ 0 h 352"/>
                  <a:gd name="T10" fmla="*/ 10 w 26"/>
                  <a:gd name="T11" fmla="*/ 6 h 352"/>
                  <a:gd name="T12" fmla="*/ 26 w 26"/>
                  <a:gd name="T13" fmla="*/ 352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352">
                    <a:moveTo>
                      <a:pt x="26" y="352"/>
                    </a:moveTo>
                    <a:cubicBezTo>
                      <a:pt x="26" y="347"/>
                      <a:pt x="8" y="236"/>
                      <a:pt x="7" y="213"/>
                    </a:cubicBezTo>
                    <a:cubicBezTo>
                      <a:pt x="6" y="189"/>
                      <a:pt x="9" y="165"/>
                      <a:pt x="7" y="145"/>
                    </a:cubicBezTo>
                    <a:cubicBezTo>
                      <a:pt x="5" y="126"/>
                      <a:pt x="0" y="48"/>
                      <a:pt x="0" y="30"/>
                    </a:cubicBezTo>
                    <a:cubicBezTo>
                      <a:pt x="1" y="12"/>
                      <a:pt x="10" y="0"/>
                      <a:pt x="10" y="0"/>
                    </a:cubicBezTo>
                    <a:cubicBezTo>
                      <a:pt x="10" y="6"/>
                      <a:pt x="10" y="6"/>
                      <a:pt x="10" y="6"/>
                    </a:cubicBezTo>
                    <a:lnTo>
                      <a:pt x="26" y="352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10" name="Freeform 171">
                <a:extLst>
                  <a:ext uri="{FF2B5EF4-FFF2-40B4-BE49-F238E27FC236}">
                    <a16:creationId xmlns:a16="http://schemas.microsoft.com/office/drawing/2014/main" id="{58086DC4-E23D-4A1C-8205-2D4834F1ED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0476" y="3135321"/>
                <a:ext cx="222250" cy="58738"/>
              </a:xfrm>
              <a:custGeom>
                <a:avLst/>
                <a:gdLst>
                  <a:gd name="T0" fmla="*/ 0 w 59"/>
                  <a:gd name="T1" fmla="*/ 16 h 16"/>
                  <a:gd name="T2" fmla="*/ 52 w 59"/>
                  <a:gd name="T3" fmla="*/ 7 h 16"/>
                  <a:gd name="T4" fmla="*/ 59 w 59"/>
                  <a:gd name="T5" fmla="*/ 7 h 16"/>
                  <a:gd name="T6" fmla="*/ 0 w 59"/>
                  <a:gd name="T7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9" h="16">
                    <a:moveTo>
                      <a:pt x="0" y="16"/>
                    </a:moveTo>
                    <a:cubicBezTo>
                      <a:pt x="0" y="16"/>
                      <a:pt x="49" y="13"/>
                      <a:pt x="52" y="7"/>
                    </a:cubicBezTo>
                    <a:cubicBezTo>
                      <a:pt x="55" y="0"/>
                      <a:pt x="59" y="3"/>
                      <a:pt x="59" y="7"/>
                    </a:cubicBezTo>
                    <a:cubicBezTo>
                      <a:pt x="58" y="11"/>
                      <a:pt x="0" y="16"/>
                      <a:pt x="0" y="16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11" name="Freeform 172">
                <a:extLst>
                  <a:ext uri="{FF2B5EF4-FFF2-40B4-BE49-F238E27FC236}">
                    <a16:creationId xmlns:a16="http://schemas.microsoft.com/office/drawing/2014/main" id="{092BB708-F28E-4327-9235-FC5E3FA93E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7627" y="3224223"/>
                <a:ext cx="198440" cy="282574"/>
              </a:xfrm>
              <a:custGeom>
                <a:avLst/>
                <a:gdLst>
                  <a:gd name="T0" fmla="*/ 44 w 53"/>
                  <a:gd name="T1" fmla="*/ 0 h 75"/>
                  <a:gd name="T2" fmla="*/ 53 w 53"/>
                  <a:gd name="T3" fmla="*/ 75 h 75"/>
                  <a:gd name="T4" fmla="*/ 24 w 53"/>
                  <a:gd name="T5" fmla="*/ 75 h 75"/>
                  <a:gd name="T6" fmla="*/ 14 w 53"/>
                  <a:gd name="T7" fmla="*/ 69 h 75"/>
                  <a:gd name="T8" fmla="*/ 34 w 53"/>
                  <a:gd name="T9" fmla="*/ 61 h 75"/>
                  <a:gd name="T10" fmla="*/ 22 w 53"/>
                  <a:gd name="T11" fmla="*/ 38 h 75"/>
                  <a:gd name="T12" fmla="*/ 44 w 53"/>
                  <a:gd name="T1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3" h="75">
                    <a:moveTo>
                      <a:pt x="44" y="0"/>
                    </a:moveTo>
                    <a:cubicBezTo>
                      <a:pt x="53" y="75"/>
                      <a:pt x="53" y="75"/>
                      <a:pt x="53" y="75"/>
                    </a:cubicBezTo>
                    <a:cubicBezTo>
                      <a:pt x="24" y="75"/>
                      <a:pt x="24" y="75"/>
                      <a:pt x="24" y="75"/>
                    </a:cubicBezTo>
                    <a:cubicBezTo>
                      <a:pt x="24" y="75"/>
                      <a:pt x="0" y="69"/>
                      <a:pt x="14" y="69"/>
                    </a:cubicBezTo>
                    <a:cubicBezTo>
                      <a:pt x="29" y="68"/>
                      <a:pt x="42" y="73"/>
                      <a:pt x="34" y="61"/>
                    </a:cubicBezTo>
                    <a:cubicBezTo>
                      <a:pt x="27" y="48"/>
                      <a:pt x="6" y="41"/>
                      <a:pt x="22" y="38"/>
                    </a:cubicBezTo>
                    <a:cubicBezTo>
                      <a:pt x="38" y="34"/>
                      <a:pt x="44" y="0"/>
                      <a:pt x="44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12" name="Freeform 173">
                <a:extLst>
                  <a:ext uri="{FF2B5EF4-FFF2-40B4-BE49-F238E27FC236}">
                    <a16:creationId xmlns:a16="http://schemas.microsoft.com/office/drawing/2014/main" id="{6BCEA7D7-B22B-4353-B70A-B1A413B5ED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59122" y="2576519"/>
                <a:ext cx="60324" cy="490537"/>
              </a:xfrm>
              <a:custGeom>
                <a:avLst/>
                <a:gdLst>
                  <a:gd name="T0" fmla="*/ 0 w 38"/>
                  <a:gd name="T1" fmla="*/ 0 h 309"/>
                  <a:gd name="T2" fmla="*/ 29 w 38"/>
                  <a:gd name="T3" fmla="*/ 309 h 309"/>
                  <a:gd name="T4" fmla="*/ 38 w 38"/>
                  <a:gd name="T5" fmla="*/ 293 h 309"/>
                  <a:gd name="T6" fmla="*/ 0 w 38"/>
                  <a:gd name="T7" fmla="*/ 0 h 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8" h="309">
                    <a:moveTo>
                      <a:pt x="0" y="0"/>
                    </a:moveTo>
                    <a:lnTo>
                      <a:pt x="29" y="309"/>
                    </a:lnTo>
                    <a:lnTo>
                      <a:pt x="38" y="29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13" name="Freeform 174">
                <a:extLst>
                  <a:ext uri="{FF2B5EF4-FFF2-40B4-BE49-F238E27FC236}">
                    <a16:creationId xmlns:a16="http://schemas.microsoft.com/office/drawing/2014/main" id="{0DF6231D-3BDF-4E7D-A8AC-BE7542B634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157549"/>
                <a:ext cx="288924" cy="93661"/>
              </a:xfrm>
              <a:custGeom>
                <a:avLst/>
                <a:gdLst>
                  <a:gd name="T0" fmla="*/ 0 w 77"/>
                  <a:gd name="T1" fmla="*/ 0 h 25"/>
                  <a:gd name="T2" fmla="*/ 75 w 77"/>
                  <a:gd name="T3" fmla="*/ 10 h 25"/>
                  <a:gd name="T4" fmla="*/ 68 w 77"/>
                  <a:gd name="T5" fmla="*/ 25 h 25"/>
                  <a:gd name="T6" fmla="*/ 0 w 77"/>
                  <a:gd name="T7" fmla="*/ 12 h 25"/>
                  <a:gd name="T8" fmla="*/ 0 w 77"/>
                  <a:gd name="T9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7" h="25">
                    <a:moveTo>
                      <a:pt x="0" y="0"/>
                    </a:moveTo>
                    <a:cubicBezTo>
                      <a:pt x="0" y="0"/>
                      <a:pt x="73" y="9"/>
                      <a:pt x="75" y="10"/>
                    </a:cubicBezTo>
                    <a:cubicBezTo>
                      <a:pt x="77" y="11"/>
                      <a:pt x="68" y="25"/>
                      <a:pt x="68" y="25"/>
                    </a:cubicBezTo>
                    <a:cubicBezTo>
                      <a:pt x="0" y="12"/>
                      <a:pt x="0" y="12"/>
                      <a:pt x="0" y="12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14" name="Freeform 175">
                <a:extLst>
                  <a:ext uri="{FF2B5EF4-FFF2-40B4-BE49-F238E27FC236}">
                    <a16:creationId xmlns:a16="http://schemas.microsoft.com/office/drawing/2014/main" id="{E200486E-001C-4B21-A83D-60C0D4683B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333761"/>
                <a:ext cx="242887" cy="236537"/>
              </a:xfrm>
              <a:custGeom>
                <a:avLst/>
                <a:gdLst>
                  <a:gd name="T0" fmla="*/ 65 w 65"/>
                  <a:gd name="T1" fmla="*/ 0 h 63"/>
                  <a:gd name="T2" fmla="*/ 50 w 65"/>
                  <a:gd name="T3" fmla="*/ 60 h 63"/>
                  <a:gd name="T4" fmla="*/ 9 w 65"/>
                  <a:gd name="T5" fmla="*/ 52 h 63"/>
                  <a:gd name="T6" fmla="*/ 18 w 65"/>
                  <a:gd name="T7" fmla="*/ 46 h 63"/>
                  <a:gd name="T8" fmla="*/ 49 w 65"/>
                  <a:gd name="T9" fmla="*/ 46 h 63"/>
                  <a:gd name="T10" fmla="*/ 65 w 65"/>
                  <a:gd name="T11" fmla="*/ 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5" h="63">
                    <a:moveTo>
                      <a:pt x="65" y="0"/>
                    </a:moveTo>
                    <a:cubicBezTo>
                      <a:pt x="50" y="60"/>
                      <a:pt x="50" y="60"/>
                      <a:pt x="50" y="60"/>
                    </a:cubicBezTo>
                    <a:cubicBezTo>
                      <a:pt x="9" y="52"/>
                      <a:pt x="9" y="52"/>
                      <a:pt x="9" y="52"/>
                    </a:cubicBezTo>
                    <a:cubicBezTo>
                      <a:pt x="9" y="52"/>
                      <a:pt x="0" y="47"/>
                      <a:pt x="18" y="46"/>
                    </a:cubicBezTo>
                    <a:cubicBezTo>
                      <a:pt x="36" y="46"/>
                      <a:pt x="48" y="63"/>
                      <a:pt x="49" y="46"/>
                    </a:cubicBezTo>
                    <a:cubicBezTo>
                      <a:pt x="50" y="30"/>
                      <a:pt x="65" y="0"/>
                      <a:pt x="65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15" name="Freeform 176">
                <a:extLst>
                  <a:ext uri="{FF2B5EF4-FFF2-40B4-BE49-F238E27FC236}">
                    <a16:creationId xmlns:a16="http://schemas.microsoft.com/office/drawing/2014/main" id="{80D96BDA-2A99-474C-99B5-B9050F9012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0183" y="2201870"/>
                <a:ext cx="41274" cy="168276"/>
              </a:xfrm>
              <a:custGeom>
                <a:avLst/>
                <a:gdLst>
                  <a:gd name="T0" fmla="*/ 0 w 11"/>
                  <a:gd name="T1" fmla="*/ 0 h 45"/>
                  <a:gd name="T2" fmla="*/ 0 w 11"/>
                  <a:gd name="T3" fmla="*/ 21 h 45"/>
                  <a:gd name="T4" fmla="*/ 2 w 11"/>
                  <a:gd name="T5" fmla="*/ 42 h 45"/>
                  <a:gd name="T6" fmla="*/ 10 w 11"/>
                  <a:gd name="T7" fmla="*/ 5 h 45"/>
                  <a:gd name="T8" fmla="*/ 0 w 11"/>
                  <a:gd name="T9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45">
                    <a:moveTo>
                      <a:pt x="0" y="0"/>
                    </a:moveTo>
                    <a:cubicBezTo>
                      <a:pt x="0" y="5"/>
                      <a:pt x="0" y="13"/>
                      <a:pt x="0" y="21"/>
                    </a:cubicBezTo>
                    <a:cubicBezTo>
                      <a:pt x="1" y="31"/>
                      <a:pt x="2" y="41"/>
                      <a:pt x="2" y="42"/>
                    </a:cubicBezTo>
                    <a:cubicBezTo>
                      <a:pt x="4" y="45"/>
                      <a:pt x="11" y="8"/>
                      <a:pt x="10" y="5"/>
                    </a:cubicBezTo>
                    <a:cubicBezTo>
                      <a:pt x="8" y="2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16" name="Freeform 177">
                <a:extLst>
                  <a:ext uri="{FF2B5EF4-FFF2-40B4-BE49-F238E27FC236}">
                    <a16:creationId xmlns:a16="http://schemas.microsoft.com/office/drawing/2014/main" id="{E52D16CE-3AF4-4A85-AC44-BEE2DE29C0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1758" y="2786069"/>
                <a:ext cx="150812" cy="352425"/>
              </a:xfrm>
              <a:custGeom>
                <a:avLst/>
                <a:gdLst>
                  <a:gd name="T0" fmla="*/ 0 w 40"/>
                  <a:gd name="T1" fmla="*/ 0 h 94"/>
                  <a:gd name="T2" fmla="*/ 20 w 40"/>
                  <a:gd name="T3" fmla="*/ 64 h 94"/>
                  <a:gd name="T4" fmla="*/ 36 w 40"/>
                  <a:gd name="T5" fmla="*/ 82 h 94"/>
                  <a:gd name="T6" fmla="*/ 14 w 40"/>
                  <a:gd name="T7" fmla="*/ 26 h 94"/>
                  <a:gd name="T8" fmla="*/ 0 w 40"/>
                  <a:gd name="T9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94">
                    <a:moveTo>
                      <a:pt x="0" y="0"/>
                    </a:moveTo>
                    <a:cubicBezTo>
                      <a:pt x="0" y="0"/>
                      <a:pt x="12" y="47"/>
                      <a:pt x="20" y="64"/>
                    </a:cubicBezTo>
                    <a:cubicBezTo>
                      <a:pt x="28" y="82"/>
                      <a:pt x="40" y="94"/>
                      <a:pt x="36" y="82"/>
                    </a:cubicBezTo>
                    <a:cubicBezTo>
                      <a:pt x="32" y="69"/>
                      <a:pt x="20" y="36"/>
                      <a:pt x="14" y="26"/>
                    </a:cubicBezTo>
                    <a:cubicBezTo>
                      <a:pt x="9" y="1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17" name="Freeform 178">
                <a:extLst>
                  <a:ext uri="{FF2B5EF4-FFF2-40B4-BE49-F238E27FC236}">
                    <a16:creationId xmlns:a16="http://schemas.microsoft.com/office/drawing/2014/main" id="{FA9B92B6-C86E-4B5B-9702-2799273ABC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9736" y="2860684"/>
                <a:ext cx="49214" cy="247650"/>
              </a:xfrm>
              <a:custGeom>
                <a:avLst/>
                <a:gdLst>
                  <a:gd name="T0" fmla="*/ 0 w 13"/>
                  <a:gd name="T1" fmla="*/ 0 h 66"/>
                  <a:gd name="T2" fmla="*/ 10 w 13"/>
                  <a:gd name="T3" fmla="*/ 31 h 66"/>
                  <a:gd name="T4" fmla="*/ 6 w 13"/>
                  <a:gd name="T5" fmla="*/ 50 h 66"/>
                  <a:gd name="T6" fmla="*/ 0 w 13"/>
                  <a:gd name="T7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66">
                    <a:moveTo>
                      <a:pt x="0" y="0"/>
                    </a:moveTo>
                    <a:cubicBezTo>
                      <a:pt x="0" y="0"/>
                      <a:pt x="13" y="15"/>
                      <a:pt x="10" y="31"/>
                    </a:cubicBezTo>
                    <a:cubicBezTo>
                      <a:pt x="8" y="47"/>
                      <a:pt x="5" y="66"/>
                      <a:pt x="6" y="50"/>
                    </a:cubicBezTo>
                    <a:cubicBezTo>
                      <a:pt x="6" y="3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18" name="Freeform 188">
                <a:extLst>
                  <a:ext uri="{FF2B5EF4-FFF2-40B4-BE49-F238E27FC236}">
                    <a16:creationId xmlns:a16="http://schemas.microsoft.com/office/drawing/2014/main" id="{B0D9A910-3A0E-423A-9B04-A3B3D74D38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01994" y="1544640"/>
                <a:ext cx="349252" cy="131762"/>
              </a:xfrm>
              <a:custGeom>
                <a:avLst/>
                <a:gdLst>
                  <a:gd name="T0" fmla="*/ 0 w 93"/>
                  <a:gd name="T1" fmla="*/ 0 h 35"/>
                  <a:gd name="T2" fmla="*/ 33 w 93"/>
                  <a:gd name="T3" fmla="*/ 29 h 35"/>
                  <a:gd name="T4" fmla="*/ 68 w 93"/>
                  <a:gd name="T5" fmla="*/ 24 h 35"/>
                  <a:gd name="T6" fmla="*/ 85 w 93"/>
                  <a:gd name="T7" fmla="*/ 7 h 35"/>
                  <a:gd name="T8" fmla="*/ 92 w 93"/>
                  <a:gd name="T9" fmla="*/ 6 h 35"/>
                  <a:gd name="T10" fmla="*/ 85 w 93"/>
                  <a:gd name="T11" fmla="*/ 19 h 35"/>
                  <a:gd name="T12" fmla="*/ 67 w 93"/>
                  <a:gd name="T13" fmla="*/ 32 h 35"/>
                  <a:gd name="T14" fmla="*/ 28 w 93"/>
                  <a:gd name="T15" fmla="*/ 32 h 35"/>
                  <a:gd name="T16" fmla="*/ 0 w 93"/>
                  <a:gd name="T17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3" h="35">
                    <a:moveTo>
                      <a:pt x="0" y="0"/>
                    </a:moveTo>
                    <a:cubicBezTo>
                      <a:pt x="2" y="4"/>
                      <a:pt x="21" y="25"/>
                      <a:pt x="33" y="29"/>
                    </a:cubicBezTo>
                    <a:cubicBezTo>
                      <a:pt x="45" y="32"/>
                      <a:pt x="63" y="29"/>
                      <a:pt x="68" y="24"/>
                    </a:cubicBezTo>
                    <a:cubicBezTo>
                      <a:pt x="73" y="19"/>
                      <a:pt x="84" y="9"/>
                      <a:pt x="85" y="7"/>
                    </a:cubicBezTo>
                    <a:cubicBezTo>
                      <a:pt x="86" y="5"/>
                      <a:pt x="93" y="1"/>
                      <a:pt x="92" y="6"/>
                    </a:cubicBezTo>
                    <a:cubicBezTo>
                      <a:pt x="91" y="10"/>
                      <a:pt x="89" y="14"/>
                      <a:pt x="85" y="19"/>
                    </a:cubicBezTo>
                    <a:cubicBezTo>
                      <a:pt x="82" y="24"/>
                      <a:pt x="75" y="33"/>
                      <a:pt x="67" y="32"/>
                    </a:cubicBezTo>
                    <a:cubicBezTo>
                      <a:pt x="58" y="32"/>
                      <a:pt x="36" y="35"/>
                      <a:pt x="28" y="32"/>
                    </a:cubicBezTo>
                    <a:cubicBezTo>
                      <a:pt x="19" y="3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19" name="Freeform 103">
                <a:extLst>
                  <a:ext uri="{FF2B5EF4-FFF2-40B4-BE49-F238E27FC236}">
                    <a16:creationId xmlns:a16="http://schemas.microsoft.com/office/drawing/2014/main" id="{0E2DEA1F-8074-40AD-B66D-E7F0F8E092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3697" y="1061826"/>
                <a:ext cx="226796" cy="66888"/>
              </a:xfrm>
              <a:custGeom>
                <a:avLst/>
                <a:gdLst>
                  <a:gd name="T0" fmla="*/ 9 w 49"/>
                  <a:gd name="T1" fmla="*/ 1 h 23"/>
                  <a:gd name="T2" fmla="*/ 24 w 49"/>
                  <a:gd name="T3" fmla="*/ 8 h 23"/>
                  <a:gd name="T4" fmla="*/ 31 w 49"/>
                  <a:gd name="T5" fmla="*/ 7 h 23"/>
                  <a:gd name="T6" fmla="*/ 44 w 49"/>
                  <a:gd name="T7" fmla="*/ 17 h 23"/>
                  <a:gd name="T8" fmla="*/ 37 w 49"/>
                  <a:gd name="T9" fmla="*/ 17 h 23"/>
                  <a:gd name="T10" fmla="*/ 13 w 49"/>
                  <a:gd name="T11" fmla="*/ 10 h 23"/>
                  <a:gd name="T12" fmla="*/ 9 w 49"/>
                  <a:gd name="T13" fmla="*/ 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" h="23">
                    <a:moveTo>
                      <a:pt x="9" y="1"/>
                    </a:moveTo>
                    <a:cubicBezTo>
                      <a:pt x="9" y="1"/>
                      <a:pt x="20" y="7"/>
                      <a:pt x="24" y="8"/>
                    </a:cubicBezTo>
                    <a:cubicBezTo>
                      <a:pt x="28" y="9"/>
                      <a:pt x="31" y="9"/>
                      <a:pt x="31" y="7"/>
                    </a:cubicBezTo>
                    <a:cubicBezTo>
                      <a:pt x="31" y="4"/>
                      <a:pt x="40" y="11"/>
                      <a:pt x="44" y="17"/>
                    </a:cubicBezTo>
                    <a:cubicBezTo>
                      <a:pt x="49" y="23"/>
                      <a:pt x="44" y="21"/>
                      <a:pt x="37" y="17"/>
                    </a:cubicBezTo>
                    <a:cubicBezTo>
                      <a:pt x="30" y="13"/>
                      <a:pt x="20" y="15"/>
                      <a:pt x="13" y="10"/>
                    </a:cubicBezTo>
                    <a:cubicBezTo>
                      <a:pt x="6" y="5"/>
                      <a:pt x="0" y="0"/>
                      <a:pt x="9" y="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20" name="Freeform 104">
                <a:extLst>
                  <a:ext uri="{FF2B5EF4-FFF2-40B4-BE49-F238E27FC236}">
                    <a16:creationId xmlns:a16="http://schemas.microsoft.com/office/drawing/2014/main" id="{39CED19A-F270-462A-BDFD-2646FF392D0E}"/>
                  </a:ext>
                </a:extLst>
              </p:cNvPr>
              <p:cNvSpPr>
                <a:spLocks/>
              </p:cNvSpPr>
              <p:nvPr/>
            </p:nvSpPr>
            <p:spPr bwMode="auto">
              <a:xfrm rot="18643239">
                <a:off x="3555600" y="1040771"/>
                <a:ext cx="87944" cy="175885"/>
              </a:xfrm>
              <a:custGeom>
                <a:avLst/>
                <a:gdLst>
                  <a:gd name="T0" fmla="*/ 12 w 30"/>
                  <a:gd name="T1" fmla="*/ 25 h 60"/>
                  <a:gd name="T2" fmla="*/ 20 w 30"/>
                  <a:gd name="T3" fmla="*/ 19 h 60"/>
                  <a:gd name="T4" fmla="*/ 22 w 30"/>
                  <a:gd name="T5" fmla="*/ 4 h 60"/>
                  <a:gd name="T6" fmla="*/ 24 w 30"/>
                  <a:gd name="T7" fmla="*/ 26 h 60"/>
                  <a:gd name="T8" fmla="*/ 21 w 30"/>
                  <a:gd name="T9" fmla="*/ 37 h 60"/>
                  <a:gd name="T10" fmla="*/ 14 w 30"/>
                  <a:gd name="T11" fmla="*/ 48 h 60"/>
                  <a:gd name="T12" fmla="*/ 8 w 30"/>
                  <a:gd name="T13" fmla="*/ 35 h 60"/>
                  <a:gd name="T14" fmla="*/ 12 w 30"/>
                  <a:gd name="T15" fmla="*/ 25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60">
                    <a:moveTo>
                      <a:pt x="12" y="25"/>
                    </a:moveTo>
                    <a:cubicBezTo>
                      <a:pt x="12" y="25"/>
                      <a:pt x="17" y="24"/>
                      <a:pt x="20" y="19"/>
                    </a:cubicBezTo>
                    <a:cubicBezTo>
                      <a:pt x="24" y="14"/>
                      <a:pt x="22" y="8"/>
                      <a:pt x="22" y="4"/>
                    </a:cubicBezTo>
                    <a:cubicBezTo>
                      <a:pt x="21" y="0"/>
                      <a:pt x="30" y="16"/>
                      <a:pt x="24" y="26"/>
                    </a:cubicBezTo>
                    <a:cubicBezTo>
                      <a:pt x="24" y="26"/>
                      <a:pt x="21" y="34"/>
                      <a:pt x="21" y="37"/>
                    </a:cubicBezTo>
                    <a:cubicBezTo>
                      <a:pt x="21" y="40"/>
                      <a:pt x="20" y="46"/>
                      <a:pt x="14" y="48"/>
                    </a:cubicBezTo>
                    <a:cubicBezTo>
                      <a:pt x="8" y="50"/>
                      <a:pt x="0" y="60"/>
                      <a:pt x="8" y="35"/>
                    </a:cubicBezTo>
                    <a:lnTo>
                      <a:pt x="12" y="25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</p:grpSp>
      <p:pic>
        <p:nvPicPr>
          <p:cNvPr id="5" name="Graphique 4">
            <a:extLst>
              <a:ext uri="{FF2B5EF4-FFF2-40B4-BE49-F238E27FC236}">
                <a16:creationId xmlns:a16="http://schemas.microsoft.com/office/drawing/2014/main" id="{48B31AA0-F800-4F49-B7E1-21683E5F094F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8548233" y="3786213"/>
            <a:ext cx="3367017" cy="3361992"/>
          </a:xfrm>
          <a:prstGeom prst="rect">
            <a:avLst/>
          </a:prstGeom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4199AC37-09B7-44E5-8564-F530019C09DA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30822" y="27888705"/>
            <a:ext cx="4784970" cy="2001662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ECEA2E86-AE5C-4C27-AC8E-20027B7FA8C7}"/>
              </a:ext>
            </a:extLst>
          </p:cNvPr>
          <p:cNvSpPr/>
          <p:nvPr/>
        </p:nvSpPr>
        <p:spPr>
          <a:xfrm>
            <a:off x="7987738" y="28003446"/>
            <a:ext cx="27541211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7200" b="1" i="1" dirty="0">
                <a:solidFill>
                  <a:schemeClr val="bg1"/>
                </a:solidFill>
                <a:latin typeface="Gotham Rounded Bold" pitchFamily="50" charset="0"/>
              </a:rPr>
              <a:t>PRODUCT ARCHITECT</a:t>
            </a:r>
          </a:p>
        </p:txBody>
      </p:sp>
      <p:pic>
        <p:nvPicPr>
          <p:cNvPr id="2" name="Graphique 1">
            <a:extLst>
              <a:ext uri="{FF2B5EF4-FFF2-40B4-BE49-F238E27FC236}">
                <a16:creationId xmlns:a16="http://schemas.microsoft.com/office/drawing/2014/main" id="{922C053B-41FD-4B50-8BA5-122918804DAE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41298330" y="29758451"/>
            <a:ext cx="1371850" cy="465961"/>
          </a:xfrm>
          <a:prstGeom prst="rect">
            <a:avLst/>
          </a:prstGeom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9A1A72CE-A851-44E7-8341-16727D77FFA5}"/>
              </a:ext>
            </a:extLst>
          </p:cNvPr>
          <p:cNvSpPr txBox="1"/>
          <p:nvPr/>
        </p:nvSpPr>
        <p:spPr>
          <a:xfrm>
            <a:off x="41036743" y="29481452"/>
            <a:ext cx="137185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200" dirty="0">
                <a:solidFill>
                  <a:schemeClr val="bg1"/>
                </a:solidFill>
                <a:latin typeface="Gotham Rounded Bold" pitchFamily="50" charset="0"/>
              </a:rPr>
              <a:t>DESIGNED BY :</a:t>
            </a:r>
          </a:p>
        </p:txBody>
      </p:sp>
      <p:sp>
        <p:nvSpPr>
          <p:cNvPr id="6148" name="Rectangle 596">
            <a:extLst>
              <a:ext uri="{FF2B5EF4-FFF2-40B4-BE49-F238E27FC236}">
                <a16:creationId xmlns:a16="http://schemas.microsoft.com/office/drawing/2014/main" id="{5D6980BC-E39F-4FDE-BE63-389CAC7786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276868" y="22328066"/>
            <a:ext cx="9134475" cy="13234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175125" fontAlgn="base">
              <a:spcBef>
                <a:spcPct val="0"/>
              </a:spcBef>
              <a:spcAft>
                <a:spcPct val="0"/>
              </a:spcAft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175125" fontAlgn="base">
              <a:spcBef>
                <a:spcPct val="0"/>
              </a:spcBef>
              <a:spcAft>
                <a:spcPct val="0"/>
              </a:spcAft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175125" fontAlgn="base">
              <a:spcBef>
                <a:spcPct val="0"/>
              </a:spcBef>
              <a:spcAft>
                <a:spcPct val="0"/>
              </a:spcAft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175125" fontAlgn="base">
              <a:spcBef>
                <a:spcPct val="0"/>
              </a:spcBef>
              <a:spcAft>
                <a:spcPct val="0"/>
              </a:spcAft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/>
            <a:r>
              <a:rPr lang="fr-FR" altLang="fr-FR" sz="4000" b="1" dirty="0">
                <a:solidFill>
                  <a:srgbClr val="00B0F0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Local Coaching</a:t>
            </a:r>
          </a:p>
          <a:p>
            <a:pPr algn="ctr" eaLnBrk="1" hangingPunct="1"/>
            <a:r>
              <a:rPr lang="fr-FR" altLang="fr-FR" sz="4000" b="1" dirty="0">
                <a:solidFill>
                  <a:srgbClr val="00B0F0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Mentoring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D8V5PHTQ.XAGbImBUyYQ"/>
</p:tagLst>
</file>

<file path=ppt/theme/theme1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PRESENTATIONLOAD">
  <a:themeElements>
    <a:clrScheme name="Benutzerdefiniert 2">
      <a:dk1>
        <a:sysClr val="windowText" lastClr="000000"/>
      </a:dk1>
      <a:lt1>
        <a:sysClr val="window" lastClr="FFFFFF"/>
      </a:lt1>
      <a:dk2>
        <a:srgbClr val="2C3E50"/>
      </a:dk2>
      <a:lt2>
        <a:srgbClr val="FFFFFF"/>
      </a:lt2>
      <a:accent1>
        <a:srgbClr val="3498DB"/>
      </a:accent1>
      <a:accent2>
        <a:srgbClr val="C8303F"/>
      </a:accent2>
      <a:accent3>
        <a:srgbClr val="9BBB59"/>
      </a:accent3>
      <a:accent4>
        <a:srgbClr val="FFC000"/>
      </a:accent4>
      <a:accent5>
        <a:srgbClr val="814993"/>
      </a:accent5>
      <a:accent6>
        <a:srgbClr val="45B1CB"/>
      </a:accent6>
      <a:hlink>
        <a:srgbClr val="7F7F7F"/>
      </a:hlink>
      <a:folHlink>
        <a:srgbClr val="7F7F7F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8B6676EFF43BD44A973BAF3C3F8897C" ma:contentTypeVersion="11" ma:contentTypeDescription="Crée un document." ma:contentTypeScope="" ma:versionID="16055b838173ea074c74866c85749e9f">
  <xsd:schema xmlns:xsd="http://www.w3.org/2001/XMLSchema" xmlns:xs="http://www.w3.org/2001/XMLSchema" xmlns:p="http://schemas.microsoft.com/office/2006/metadata/properties" xmlns:ns3="e2e26994-5e48-4994-8c16-0b6f61c4bc8a" xmlns:ns4="9f09b4db-7fdb-4a79-a1ce-e7e1d5ac2b17" targetNamespace="http://schemas.microsoft.com/office/2006/metadata/properties" ma:root="true" ma:fieldsID="7356ef530764415288c8753ef1e753cb" ns3:_="" ns4:_="">
    <xsd:import namespace="e2e26994-5e48-4994-8c16-0b6f61c4bc8a"/>
    <xsd:import namespace="9f09b4db-7fdb-4a79-a1ce-e7e1d5ac2b17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DateTaken" minOccurs="0"/>
                <xsd:element ref="ns4:MediaServiceLocation" minOccurs="0"/>
                <xsd:element ref="ns4:MediaServiceOCR" minOccurs="0"/>
                <xsd:element ref="ns4:MediaServiceGenerationTime" minOccurs="0"/>
                <xsd:element ref="ns4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2e26994-5e48-4994-8c16-0b6f61c4bc8a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Partagé avec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Partagé avec détails" ma:description="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Partage du hachage d’indicateur" ma:description="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f09b4db-7fdb-4a79-a1ce-e7e1d5ac2b1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MediaServiceAutoTags" ma:description="" ma:internalName="MediaServiceAutoTags" ma:readOnly="true">
      <xsd:simpleType>
        <xsd:restriction base="dms:Text"/>
      </xsd:simpleType>
    </xsd:element>
    <xsd:element name="MediaServiceDateTaken" ma:index="14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Location" ma:index="15" nillable="true" ma:displayName="MediaServiceLocation" ma:description="" ma:internalName="MediaServiceLocation" ma:readOnly="true">
      <xsd:simpleType>
        <xsd:restriction base="dms:Text"/>
      </xsd:simpleType>
    </xsd:element>
    <xsd:element name="MediaServiceOCR" ma:index="16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B80AFD9-F14D-487B-8F08-22D01809E5B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2e26994-5e48-4994-8c16-0b6f61c4bc8a"/>
    <ds:schemaRef ds:uri="9f09b4db-7fdb-4a79-a1ce-e7e1d5ac2b1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7BDFE61E-7354-496F-A384-36A0B59F0B0A}">
  <ds:schemaRefs>
    <ds:schemaRef ds:uri="http://schemas.microsoft.com/office/2006/documentManagement/types"/>
    <ds:schemaRef ds:uri="http://purl.org/dc/dcmitype/"/>
    <ds:schemaRef ds:uri="http://purl.org/dc/terms/"/>
    <ds:schemaRef ds:uri="http://schemas.microsoft.com/office/2006/metadata/properties"/>
    <ds:schemaRef ds:uri="9f09b4db-7fdb-4a79-a1ce-e7e1d5ac2b17"/>
    <ds:schemaRef ds:uri="http://purl.org/dc/elements/1.1/"/>
    <ds:schemaRef ds:uri="e2e26994-5e48-4994-8c16-0b6f61c4bc8a"/>
    <ds:schemaRef ds:uri="http://schemas.microsoft.com/office/infopath/2007/PartnerControls"/>
    <ds:schemaRef ds:uri="http://www.w3.org/XML/1998/namespace"/>
    <ds:schemaRef ds:uri="http://schemas.openxmlformats.org/package/2006/metadata/core-properties"/>
  </ds:schemaRefs>
</ds:datastoreItem>
</file>

<file path=customXml/itemProps3.xml><?xml version="1.0" encoding="utf-8"?>
<ds:datastoreItem xmlns:ds="http://schemas.openxmlformats.org/officeDocument/2006/customXml" ds:itemID="{49C85965-8263-4F9A-8781-30357B453126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5</TotalTime>
  <Words>169</Words>
  <Application>Microsoft Macintosh PowerPoint</Application>
  <PresentationFormat>Custom</PresentationFormat>
  <Paragraphs>9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3" baseType="lpstr">
      <vt:lpstr>Calibri</vt:lpstr>
      <vt:lpstr>Gotham Rounded Bold</vt:lpstr>
      <vt:lpstr>Arial</vt:lpstr>
      <vt:lpstr>Wingdings</vt:lpstr>
      <vt:lpstr>Aharoni</vt:lpstr>
      <vt:lpstr>Symbol</vt:lpstr>
      <vt:lpstr>Calibri Light</vt:lpstr>
      <vt:lpstr>Bebas Neue</vt:lpstr>
      <vt:lpstr>Michelin SemiBold</vt:lpstr>
      <vt:lpstr>Thème Office</vt:lpstr>
      <vt:lpstr>PRESENTATIONLOAD</vt:lpstr>
      <vt:lpstr>Diapositive think-cell</vt:lpstr>
      <vt:lpstr>PowerPoint Presentation</vt:lpstr>
    </vt:vector>
  </TitlesOfParts>
  <Company>GLUENDO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Nicolas CHEVALIER</dc:creator>
  <cp:lastModifiedBy>Olivier Jauze</cp:lastModifiedBy>
  <cp:revision>253</cp:revision>
  <dcterms:created xsi:type="dcterms:W3CDTF">2019-06-27T06:55:10Z</dcterms:created>
  <dcterms:modified xsi:type="dcterms:W3CDTF">2021-05-06T08:50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8B6676EFF43BD44A973BAF3C3F8897C</vt:lpwstr>
  </property>
</Properties>
</file>